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3.xml" ContentType="application/vnd.openxmlformats-officedocument.them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4.xml" ContentType="application/vnd.openxmlformats-officedocument.them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5.xml" ContentType="application/vnd.openxmlformats-officedocument.them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6.xml" ContentType="application/vnd.openxmlformats-officedocument.theme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7.xml" ContentType="application/vnd.openxmlformats-officedocument.theme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notesSlides/notesSlide2.xml" ContentType="application/vnd.openxmlformats-officedocument.presentationml.notesSlide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notesSlides/notesSlide3.xml" ContentType="application/vnd.openxmlformats-officedocument.presentationml.notesSlide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733" r:id="rId5"/>
    <p:sldMasterId id="2147483752" r:id="rId6"/>
    <p:sldMasterId id="2147483822" r:id="rId7"/>
    <p:sldMasterId id="2147483838" r:id="rId8"/>
    <p:sldMasterId id="2147483877" r:id="rId9"/>
    <p:sldMasterId id="2147483950" r:id="rId10"/>
  </p:sldMasterIdLst>
  <p:notesMasterIdLst>
    <p:notesMasterId r:id="rId26"/>
  </p:notesMasterIdLst>
  <p:sldIdLst>
    <p:sldId id="256" r:id="rId11"/>
    <p:sldId id="2145705849" r:id="rId12"/>
    <p:sldId id="310" r:id="rId13"/>
    <p:sldId id="2145705793" r:id="rId14"/>
    <p:sldId id="2145705621" r:id="rId15"/>
    <p:sldId id="2145706784" r:id="rId16"/>
    <p:sldId id="2145705852" r:id="rId17"/>
    <p:sldId id="2145705855" r:id="rId18"/>
    <p:sldId id="2145705844" r:id="rId19"/>
    <p:sldId id="2145706787" r:id="rId20"/>
    <p:sldId id="2145705811" r:id="rId21"/>
    <p:sldId id="2145705819" r:id="rId22"/>
    <p:sldId id="2145706788" r:id="rId23"/>
    <p:sldId id="2145705820" r:id="rId24"/>
    <p:sldId id="214570678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42" autoAdjust="0"/>
    <p:restoredTop sz="96357" autoAdjust="0"/>
  </p:normalViewPr>
  <p:slideViewPr>
    <p:cSldViewPr snapToGrid="0">
      <p:cViewPr varScale="1">
        <p:scale>
          <a:sx n="72" d="100"/>
          <a:sy n="72" d="100"/>
        </p:scale>
        <p:origin x="69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B2DD55-9709-4DB1-ABE5-8ACD0729440D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90B6953-4C22-4133-BC26-508BC2F60F4D}">
      <dgm:prSet phldrT="[Text]"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COVID-19 vaccine coordination group</a:t>
          </a:r>
        </a:p>
      </dgm:t>
    </dgm:pt>
    <dgm:pt modelId="{0C578985-7A16-4C6B-8503-FF0AB2072AF3}" type="parTrans" cxnId="{51DF83A6-72D5-409B-AD50-42A748D007C6}">
      <dgm:prSet/>
      <dgm:spPr/>
      <dgm:t>
        <a:bodyPr/>
        <a:lstStyle/>
        <a:p>
          <a:endParaRPr lang="en-US"/>
        </a:p>
      </dgm:t>
    </dgm:pt>
    <dgm:pt modelId="{58DC633B-1358-402B-88BB-AC76CE40130E}" type="sibTrans" cxnId="{51DF83A6-72D5-409B-AD50-42A748D007C6}">
      <dgm:prSet/>
      <dgm:spPr/>
      <dgm:t>
        <a:bodyPr/>
        <a:lstStyle/>
        <a:p>
          <a:endParaRPr lang="en-US"/>
        </a:p>
      </dgm:t>
    </dgm:pt>
    <dgm:pt modelId="{300FE563-A922-41F2-91DE-6833518AC521}">
      <dgm:prSet phldrT="[Text]" custT="1"/>
      <dgm:spPr/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FG5. Risk Communication &amp; Behavioral insights</a:t>
          </a:r>
          <a:endParaRPr lang="en-US" sz="1100" dirty="0"/>
        </a:p>
      </dgm:t>
    </dgm:pt>
    <dgm:pt modelId="{170FDCCA-40BB-4EA7-8069-6360B844A9ED}" type="parTrans" cxnId="{17B97B6D-5265-4CFC-86EE-5567CE730DE7}">
      <dgm:prSet/>
      <dgm:spPr/>
      <dgm:t>
        <a:bodyPr/>
        <a:lstStyle/>
        <a:p>
          <a:endParaRPr lang="en-US"/>
        </a:p>
      </dgm:t>
    </dgm:pt>
    <dgm:pt modelId="{46D3C8C7-9641-4447-B2DF-F48DD351AF3E}" type="sibTrans" cxnId="{17B97B6D-5265-4CFC-86EE-5567CE730DE7}">
      <dgm:prSet/>
      <dgm:spPr/>
      <dgm:t>
        <a:bodyPr/>
        <a:lstStyle/>
        <a:p>
          <a:endParaRPr lang="en-US"/>
        </a:p>
      </dgm:t>
    </dgm:pt>
    <dgm:pt modelId="{6820C656-4E93-4FFB-9A0E-AF73DCE23539}">
      <dgm:prSet phldrT="[Text]" custT="1"/>
      <dgm:spPr/>
      <dgm:t>
        <a:bodyPr/>
        <a:lstStyle/>
        <a:p>
          <a:r>
            <a:rPr lang="en-US" sz="1050" b="1" dirty="0">
              <a:solidFill>
                <a:schemeClr val="bg1"/>
              </a:solidFill>
            </a:rPr>
            <a:t>FG2. </a:t>
          </a:r>
          <a:r>
            <a:rPr lang="en-US" sz="1050" b="1" dirty="0"/>
            <a:t>Immunization strategy &amp; Decision making &amp; Monitoring </a:t>
          </a:r>
          <a:endParaRPr lang="en-US" sz="1050" dirty="0"/>
        </a:p>
      </dgm:t>
    </dgm:pt>
    <dgm:pt modelId="{C8AB09D1-8331-44D7-B58C-F515756D931C}" type="parTrans" cxnId="{2219EA13-AD1B-4284-A95E-8172313B9969}">
      <dgm:prSet/>
      <dgm:spPr/>
      <dgm:t>
        <a:bodyPr/>
        <a:lstStyle/>
        <a:p>
          <a:endParaRPr lang="en-US"/>
        </a:p>
      </dgm:t>
    </dgm:pt>
    <dgm:pt modelId="{5EDCA143-C912-4E69-AA47-847FF7AE0BEF}" type="sibTrans" cxnId="{2219EA13-AD1B-4284-A95E-8172313B9969}">
      <dgm:prSet/>
      <dgm:spPr/>
      <dgm:t>
        <a:bodyPr/>
        <a:lstStyle/>
        <a:p>
          <a:endParaRPr lang="en-US"/>
        </a:p>
      </dgm:t>
    </dgm:pt>
    <dgm:pt modelId="{C780AAFE-A1FB-430D-B9F0-853E7B20D957}">
      <dgm:prSet phldrT="[Text]" custT="1"/>
      <dgm:spPr/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FG3. </a:t>
          </a:r>
          <a:r>
            <a:rPr lang="en-US" sz="1100" b="1" dirty="0"/>
            <a:t>Vaccine market authorization &amp; Safety monitoring</a:t>
          </a:r>
          <a:endParaRPr lang="en-US" sz="1100" dirty="0"/>
        </a:p>
      </dgm:t>
    </dgm:pt>
    <dgm:pt modelId="{9BC715A2-83B8-43FF-9A7A-B6F49819EF5B}" type="parTrans" cxnId="{6F1E4278-A50B-4738-B4D9-92E51E9DB0BC}">
      <dgm:prSet/>
      <dgm:spPr/>
      <dgm:t>
        <a:bodyPr/>
        <a:lstStyle/>
        <a:p>
          <a:endParaRPr lang="en-US"/>
        </a:p>
      </dgm:t>
    </dgm:pt>
    <dgm:pt modelId="{F569C4BA-DEAB-4A11-B531-9E01F3DC5F2C}" type="sibTrans" cxnId="{6F1E4278-A50B-4738-B4D9-92E51E9DB0BC}">
      <dgm:prSet/>
      <dgm:spPr/>
      <dgm:t>
        <a:bodyPr/>
        <a:lstStyle/>
        <a:p>
          <a:endParaRPr lang="en-US"/>
        </a:p>
      </dgm:t>
    </dgm:pt>
    <dgm:pt modelId="{0CF267AC-48EB-4206-A9A8-D0DC17827AB6}">
      <dgm:prSet phldrT="[Text]" custT="1"/>
      <dgm:spPr/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FG4. </a:t>
          </a:r>
          <a:r>
            <a:rPr lang="en-US" sz="1100" b="1" dirty="0"/>
            <a:t>Vaccine supply, Immunization logistics &amp; Service delivery</a:t>
          </a:r>
          <a:endParaRPr lang="en-US" sz="1100" dirty="0"/>
        </a:p>
      </dgm:t>
    </dgm:pt>
    <dgm:pt modelId="{E6643FB5-CCC0-4C95-9B3A-97A620FFB91A}" type="parTrans" cxnId="{4A2BB3BC-3D44-4442-AFCD-074A6D083137}">
      <dgm:prSet/>
      <dgm:spPr/>
      <dgm:t>
        <a:bodyPr/>
        <a:lstStyle/>
        <a:p>
          <a:endParaRPr lang="en-US"/>
        </a:p>
      </dgm:t>
    </dgm:pt>
    <dgm:pt modelId="{A95A9324-17A3-449A-B546-400814211D85}" type="sibTrans" cxnId="{4A2BB3BC-3D44-4442-AFCD-074A6D083137}">
      <dgm:prSet/>
      <dgm:spPr/>
      <dgm:t>
        <a:bodyPr/>
        <a:lstStyle/>
        <a:p>
          <a:endParaRPr lang="en-US"/>
        </a:p>
      </dgm:t>
    </dgm:pt>
    <dgm:pt modelId="{78590612-E23C-4613-8981-92B6066CDB45}">
      <dgm:prSet phldrT="[Text]" custT="1"/>
      <dgm:spPr/>
      <dgm:t>
        <a:bodyPr/>
        <a:lstStyle/>
        <a:p>
          <a:r>
            <a:rPr lang="en-US" sz="1050" b="1" dirty="0">
              <a:solidFill>
                <a:schemeClr val="bg1"/>
              </a:solidFill>
            </a:rPr>
            <a:t>FG1. </a:t>
          </a:r>
          <a:r>
            <a:rPr lang="en-US" sz="1050" b="1" dirty="0"/>
            <a:t>Advocacy &amp; resource mobilization including equitable access</a:t>
          </a:r>
          <a:endParaRPr lang="en-US" sz="1050" dirty="0"/>
        </a:p>
      </dgm:t>
    </dgm:pt>
    <dgm:pt modelId="{53F151A5-EC74-4D18-9FAC-074AB30BF3FE}" type="parTrans" cxnId="{DBAAEC56-CF82-41D5-A30B-16D3743659B1}">
      <dgm:prSet/>
      <dgm:spPr/>
      <dgm:t>
        <a:bodyPr/>
        <a:lstStyle/>
        <a:p>
          <a:endParaRPr lang="en-US"/>
        </a:p>
      </dgm:t>
    </dgm:pt>
    <dgm:pt modelId="{72AC137E-FB9C-419C-8387-73C4E1AB0972}" type="sibTrans" cxnId="{DBAAEC56-CF82-41D5-A30B-16D3743659B1}">
      <dgm:prSet/>
      <dgm:spPr/>
      <dgm:t>
        <a:bodyPr/>
        <a:lstStyle/>
        <a:p>
          <a:endParaRPr lang="en-US"/>
        </a:p>
      </dgm:t>
    </dgm:pt>
    <dgm:pt modelId="{F0A32F22-079D-4207-B5E8-F13070807E88}" type="pres">
      <dgm:prSet presAssocID="{44B2DD55-9709-4DB1-ABE5-8ACD0729440D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246965F-AE8D-4488-B21D-E1FA56687E15}" type="pres">
      <dgm:prSet presAssocID="{590B6953-4C22-4133-BC26-508BC2F60F4D}" presName="centerShape" presStyleLbl="node0" presStyleIdx="0" presStyleCnt="1" custScaleX="114602" custScaleY="114602"/>
      <dgm:spPr/>
    </dgm:pt>
    <dgm:pt modelId="{F0CD5B6E-B95C-4946-821E-288AC06A50FE}" type="pres">
      <dgm:prSet presAssocID="{300FE563-A922-41F2-91DE-6833518AC521}" presName="node" presStyleLbl="node1" presStyleIdx="0" presStyleCnt="5" custScaleX="138335" custScaleY="138335">
        <dgm:presLayoutVars>
          <dgm:bulletEnabled val="1"/>
        </dgm:presLayoutVars>
      </dgm:prSet>
      <dgm:spPr/>
    </dgm:pt>
    <dgm:pt modelId="{34AA2336-8129-44ED-A14C-0648F2111EE9}" type="pres">
      <dgm:prSet presAssocID="{300FE563-A922-41F2-91DE-6833518AC521}" presName="dummy" presStyleCnt="0"/>
      <dgm:spPr/>
    </dgm:pt>
    <dgm:pt modelId="{B869F583-D1CE-4BC4-AC14-4D1A3570E39F}" type="pres">
      <dgm:prSet presAssocID="{46D3C8C7-9641-4447-B2DF-F48DD351AF3E}" presName="sibTrans" presStyleLbl="sibTrans2D1" presStyleIdx="0" presStyleCnt="5" custLinFactNeighborX="299" custLinFactNeighborY="307"/>
      <dgm:spPr/>
    </dgm:pt>
    <dgm:pt modelId="{49119182-54AB-4067-8F38-28D9BBE368FF}" type="pres">
      <dgm:prSet presAssocID="{78590612-E23C-4613-8981-92B6066CDB45}" presName="node" presStyleLbl="node1" presStyleIdx="1" presStyleCnt="5" custScaleX="138335" custScaleY="138335">
        <dgm:presLayoutVars>
          <dgm:bulletEnabled val="1"/>
        </dgm:presLayoutVars>
      </dgm:prSet>
      <dgm:spPr/>
    </dgm:pt>
    <dgm:pt modelId="{623DEF53-469F-4D88-9A87-3E7ECDDB9518}" type="pres">
      <dgm:prSet presAssocID="{78590612-E23C-4613-8981-92B6066CDB45}" presName="dummy" presStyleCnt="0"/>
      <dgm:spPr/>
    </dgm:pt>
    <dgm:pt modelId="{4B03A00D-279A-4810-974D-8CD71440764B}" type="pres">
      <dgm:prSet presAssocID="{72AC137E-FB9C-419C-8387-73C4E1AB0972}" presName="sibTrans" presStyleLbl="sibTrans2D1" presStyleIdx="1" presStyleCnt="5"/>
      <dgm:spPr/>
    </dgm:pt>
    <dgm:pt modelId="{402C6B14-2737-42B9-B03C-9CF601AB32DE}" type="pres">
      <dgm:prSet presAssocID="{6820C656-4E93-4FFB-9A0E-AF73DCE23539}" presName="node" presStyleLbl="node1" presStyleIdx="2" presStyleCnt="5" custScaleX="138335" custScaleY="138335">
        <dgm:presLayoutVars>
          <dgm:bulletEnabled val="1"/>
        </dgm:presLayoutVars>
      </dgm:prSet>
      <dgm:spPr/>
    </dgm:pt>
    <dgm:pt modelId="{6E2ECDCC-74D3-474B-B776-6BEF9B8825CC}" type="pres">
      <dgm:prSet presAssocID="{6820C656-4E93-4FFB-9A0E-AF73DCE23539}" presName="dummy" presStyleCnt="0"/>
      <dgm:spPr/>
    </dgm:pt>
    <dgm:pt modelId="{9B23D891-451E-45D2-A745-09B195156B9A}" type="pres">
      <dgm:prSet presAssocID="{5EDCA143-C912-4E69-AA47-847FF7AE0BEF}" presName="sibTrans" presStyleLbl="sibTrans2D1" presStyleIdx="2" presStyleCnt="5"/>
      <dgm:spPr/>
    </dgm:pt>
    <dgm:pt modelId="{EC4BB957-C08B-47F0-8B82-C96A558558EB}" type="pres">
      <dgm:prSet presAssocID="{C780AAFE-A1FB-430D-B9F0-853E7B20D957}" presName="node" presStyleLbl="node1" presStyleIdx="3" presStyleCnt="5" custScaleX="138335" custScaleY="138335">
        <dgm:presLayoutVars>
          <dgm:bulletEnabled val="1"/>
        </dgm:presLayoutVars>
      </dgm:prSet>
      <dgm:spPr/>
    </dgm:pt>
    <dgm:pt modelId="{C27344B6-5E1B-4431-A707-6EF94C0E5500}" type="pres">
      <dgm:prSet presAssocID="{C780AAFE-A1FB-430D-B9F0-853E7B20D957}" presName="dummy" presStyleCnt="0"/>
      <dgm:spPr/>
    </dgm:pt>
    <dgm:pt modelId="{4C202623-976C-43A2-89A2-6FC03659CC71}" type="pres">
      <dgm:prSet presAssocID="{F569C4BA-DEAB-4A11-B531-9E01F3DC5F2C}" presName="sibTrans" presStyleLbl="sibTrans2D1" presStyleIdx="3" presStyleCnt="5"/>
      <dgm:spPr/>
    </dgm:pt>
    <dgm:pt modelId="{F2F77CBA-3CFC-4FF9-8C2C-F456AE3929CA}" type="pres">
      <dgm:prSet presAssocID="{0CF267AC-48EB-4206-A9A8-D0DC17827AB6}" presName="node" presStyleLbl="node1" presStyleIdx="4" presStyleCnt="5" custScaleX="138335" custScaleY="138335">
        <dgm:presLayoutVars>
          <dgm:bulletEnabled val="1"/>
        </dgm:presLayoutVars>
      </dgm:prSet>
      <dgm:spPr/>
    </dgm:pt>
    <dgm:pt modelId="{BE3C1784-92B1-4434-877E-74155591DFE9}" type="pres">
      <dgm:prSet presAssocID="{0CF267AC-48EB-4206-A9A8-D0DC17827AB6}" presName="dummy" presStyleCnt="0"/>
      <dgm:spPr/>
    </dgm:pt>
    <dgm:pt modelId="{9460389C-BD54-4A9F-BBC8-4DD20AFB4CAD}" type="pres">
      <dgm:prSet presAssocID="{A95A9324-17A3-449A-B546-400814211D85}" presName="sibTrans" presStyleLbl="sibTrans2D1" presStyleIdx="4" presStyleCnt="5"/>
      <dgm:spPr/>
    </dgm:pt>
  </dgm:ptLst>
  <dgm:cxnLst>
    <dgm:cxn modelId="{01860007-108F-4ACA-A6AF-0E3ECFDF212B}" type="presOf" srcId="{300FE563-A922-41F2-91DE-6833518AC521}" destId="{F0CD5B6E-B95C-4946-821E-288AC06A50FE}" srcOrd="0" destOrd="0" presId="urn:microsoft.com/office/officeart/2005/8/layout/radial6"/>
    <dgm:cxn modelId="{90F7C912-BC43-4A78-AD96-5251985D6F17}" type="presOf" srcId="{72AC137E-FB9C-419C-8387-73C4E1AB0972}" destId="{4B03A00D-279A-4810-974D-8CD71440764B}" srcOrd="0" destOrd="0" presId="urn:microsoft.com/office/officeart/2005/8/layout/radial6"/>
    <dgm:cxn modelId="{2219EA13-AD1B-4284-A95E-8172313B9969}" srcId="{590B6953-4C22-4133-BC26-508BC2F60F4D}" destId="{6820C656-4E93-4FFB-9A0E-AF73DCE23539}" srcOrd="2" destOrd="0" parTransId="{C8AB09D1-8331-44D7-B58C-F515756D931C}" sibTransId="{5EDCA143-C912-4E69-AA47-847FF7AE0BEF}"/>
    <dgm:cxn modelId="{17B97B6D-5265-4CFC-86EE-5567CE730DE7}" srcId="{590B6953-4C22-4133-BC26-508BC2F60F4D}" destId="{300FE563-A922-41F2-91DE-6833518AC521}" srcOrd="0" destOrd="0" parTransId="{170FDCCA-40BB-4EA7-8069-6360B844A9ED}" sibTransId="{46D3C8C7-9641-4447-B2DF-F48DD351AF3E}"/>
    <dgm:cxn modelId="{DBAAEC56-CF82-41D5-A30B-16D3743659B1}" srcId="{590B6953-4C22-4133-BC26-508BC2F60F4D}" destId="{78590612-E23C-4613-8981-92B6066CDB45}" srcOrd="1" destOrd="0" parTransId="{53F151A5-EC74-4D18-9FAC-074AB30BF3FE}" sibTransId="{72AC137E-FB9C-419C-8387-73C4E1AB0972}"/>
    <dgm:cxn modelId="{6F1E4278-A50B-4738-B4D9-92E51E9DB0BC}" srcId="{590B6953-4C22-4133-BC26-508BC2F60F4D}" destId="{C780AAFE-A1FB-430D-B9F0-853E7B20D957}" srcOrd="3" destOrd="0" parTransId="{9BC715A2-83B8-43FF-9A7A-B6F49819EF5B}" sibTransId="{F569C4BA-DEAB-4A11-B531-9E01F3DC5F2C}"/>
    <dgm:cxn modelId="{51DF83A6-72D5-409B-AD50-42A748D007C6}" srcId="{44B2DD55-9709-4DB1-ABE5-8ACD0729440D}" destId="{590B6953-4C22-4133-BC26-508BC2F60F4D}" srcOrd="0" destOrd="0" parTransId="{0C578985-7A16-4C6B-8503-FF0AB2072AF3}" sibTransId="{58DC633B-1358-402B-88BB-AC76CE40130E}"/>
    <dgm:cxn modelId="{8AEE91AA-67A5-4654-8338-365E93C2EA5F}" type="presOf" srcId="{0CF267AC-48EB-4206-A9A8-D0DC17827AB6}" destId="{F2F77CBA-3CFC-4FF9-8C2C-F456AE3929CA}" srcOrd="0" destOrd="0" presId="urn:microsoft.com/office/officeart/2005/8/layout/radial6"/>
    <dgm:cxn modelId="{810CA7AA-8274-45AA-8511-57F87AFB7817}" type="presOf" srcId="{590B6953-4C22-4133-BC26-508BC2F60F4D}" destId="{F246965F-AE8D-4488-B21D-E1FA56687E15}" srcOrd="0" destOrd="0" presId="urn:microsoft.com/office/officeart/2005/8/layout/radial6"/>
    <dgm:cxn modelId="{4A2BB3BC-3D44-4442-AFCD-074A6D083137}" srcId="{590B6953-4C22-4133-BC26-508BC2F60F4D}" destId="{0CF267AC-48EB-4206-A9A8-D0DC17827AB6}" srcOrd="4" destOrd="0" parTransId="{E6643FB5-CCC0-4C95-9B3A-97A620FFB91A}" sibTransId="{A95A9324-17A3-449A-B546-400814211D85}"/>
    <dgm:cxn modelId="{3BD177BF-EFDC-4C74-8FDF-78D64F1BBA4A}" type="presOf" srcId="{44B2DD55-9709-4DB1-ABE5-8ACD0729440D}" destId="{F0A32F22-079D-4207-B5E8-F13070807E88}" srcOrd="0" destOrd="0" presId="urn:microsoft.com/office/officeart/2005/8/layout/radial6"/>
    <dgm:cxn modelId="{78735AC7-18CE-4CE4-8DFE-EF173B068C66}" type="presOf" srcId="{F569C4BA-DEAB-4A11-B531-9E01F3DC5F2C}" destId="{4C202623-976C-43A2-89A2-6FC03659CC71}" srcOrd="0" destOrd="0" presId="urn:microsoft.com/office/officeart/2005/8/layout/radial6"/>
    <dgm:cxn modelId="{EE9223D1-C003-4337-8F83-0EE9EE3D0B8E}" type="presOf" srcId="{A95A9324-17A3-449A-B546-400814211D85}" destId="{9460389C-BD54-4A9F-BBC8-4DD20AFB4CAD}" srcOrd="0" destOrd="0" presId="urn:microsoft.com/office/officeart/2005/8/layout/radial6"/>
    <dgm:cxn modelId="{FB44E8D7-3875-4B93-847E-C18AA0E9766C}" type="presOf" srcId="{46D3C8C7-9641-4447-B2DF-F48DD351AF3E}" destId="{B869F583-D1CE-4BC4-AC14-4D1A3570E39F}" srcOrd="0" destOrd="0" presId="urn:microsoft.com/office/officeart/2005/8/layout/radial6"/>
    <dgm:cxn modelId="{98ED88D9-E89D-4141-81CE-81943A33E4D2}" type="presOf" srcId="{6820C656-4E93-4FFB-9A0E-AF73DCE23539}" destId="{402C6B14-2737-42B9-B03C-9CF601AB32DE}" srcOrd="0" destOrd="0" presId="urn:microsoft.com/office/officeart/2005/8/layout/radial6"/>
    <dgm:cxn modelId="{923E99EA-023F-46C5-B2B1-4A77AB3AA5FD}" type="presOf" srcId="{5EDCA143-C912-4E69-AA47-847FF7AE0BEF}" destId="{9B23D891-451E-45D2-A745-09B195156B9A}" srcOrd="0" destOrd="0" presId="urn:microsoft.com/office/officeart/2005/8/layout/radial6"/>
    <dgm:cxn modelId="{4C0534EB-BE62-4A7E-A760-2D891CEE7130}" type="presOf" srcId="{C780AAFE-A1FB-430D-B9F0-853E7B20D957}" destId="{EC4BB957-C08B-47F0-8B82-C96A558558EB}" srcOrd="0" destOrd="0" presId="urn:microsoft.com/office/officeart/2005/8/layout/radial6"/>
    <dgm:cxn modelId="{5CED3BF1-9CDD-4D2C-A164-FD17D972A6D3}" type="presOf" srcId="{78590612-E23C-4613-8981-92B6066CDB45}" destId="{49119182-54AB-4067-8F38-28D9BBE368FF}" srcOrd="0" destOrd="0" presId="urn:microsoft.com/office/officeart/2005/8/layout/radial6"/>
    <dgm:cxn modelId="{4CB3AB4E-7EF2-460E-94FB-454F4F002CAD}" type="presParOf" srcId="{F0A32F22-079D-4207-B5E8-F13070807E88}" destId="{F246965F-AE8D-4488-B21D-E1FA56687E15}" srcOrd="0" destOrd="0" presId="urn:microsoft.com/office/officeart/2005/8/layout/radial6"/>
    <dgm:cxn modelId="{28CD5EAA-4978-44C7-8BFC-8DCFA449BB92}" type="presParOf" srcId="{F0A32F22-079D-4207-B5E8-F13070807E88}" destId="{F0CD5B6E-B95C-4946-821E-288AC06A50FE}" srcOrd="1" destOrd="0" presId="urn:microsoft.com/office/officeart/2005/8/layout/radial6"/>
    <dgm:cxn modelId="{EA3043E4-8507-48E3-AAEF-A01E7F7CABE2}" type="presParOf" srcId="{F0A32F22-079D-4207-B5E8-F13070807E88}" destId="{34AA2336-8129-44ED-A14C-0648F2111EE9}" srcOrd="2" destOrd="0" presId="urn:microsoft.com/office/officeart/2005/8/layout/radial6"/>
    <dgm:cxn modelId="{87577828-B0BD-4847-9138-FA81CD8BF87C}" type="presParOf" srcId="{F0A32F22-079D-4207-B5E8-F13070807E88}" destId="{B869F583-D1CE-4BC4-AC14-4D1A3570E39F}" srcOrd="3" destOrd="0" presId="urn:microsoft.com/office/officeart/2005/8/layout/radial6"/>
    <dgm:cxn modelId="{E448171F-ED7C-49E0-97E7-E09EDE3F9802}" type="presParOf" srcId="{F0A32F22-079D-4207-B5E8-F13070807E88}" destId="{49119182-54AB-4067-8F38-28D9BBE368FF}" srcOrd="4" destOrd="0" presId="urn:microsoft.com/office/officeart/2005/8/layout/radial6"/>
    <dgm:cxn modelId="{60A96720-310F-4FF1-A75A-82C779B0F64A}" type="presParOf" srcId="{F0A32F22-079D-4207-B5E8-F13070807E88}" destId="{623DEF53-469F-4D88-9A87-3E7ECDDB9518}" srcOrd="5" destOrd="0" presId="urn:microsoft.com/office/officeart/2005/8/layout/radial6"/>
    <dgm:cxn modelId="{2D30F70D-3221-4853-B158-12A13C34835A}" type="presParOf" srcId="{F0A32F22-079D-4207-B5E8-F13070807E88}" destId="{4B03A00D-279A-4810-974D-8CD71440764B}" srcOrd="6" destOrd="0" presId="urn:microsoft.com/office/officeart/2005/8/layout/radial6"/>
    <dgm:cxn modelId="{ECA9C21A-0BE0-4719-B735-965E7A297C92}" type="presParOf" srcId="{F0A32F22-079D-4207-B5E8-F13070807E88}" destId="{402C6B14-2737-42B9-B03C-9CF601AB32DE}" srcOrd="7" destOrd="0" presId="urn:microsoft.com/office/officeart/2005/8/layout/radial6"/>
    <dgm:cxn modelId="{F381489D-5853-4DBF-85B3-266F119E01B0}" type="presParOf" srcId="{F0A32F22-079D-4207-B5E8-F13070807E88}" destId="{6E2ECDCC-74D3-474B-B776-6BEF9B8825CC}" srcOrd="8" destOrd="0" presId="urn:microsoft.com/office/officeart/2005/8/layout/radial6"/>
    <dgm:cxn modelId="{27A5E9F0-A37E-493C-A102-8880708584C7}" type="presParOf" srcId="{F0A32F22-079D-4207-B5E8-F13070807E88}" destId="{9B23D891-451E-45D2-A745-09B195156B9A}" srcOrd="9" destOrd="0" presId="urn:microsoft.com/office/officeart/2005/8/layout/radial6"/>
    <dgm:cxn modelId="{152A2AB4-C1E4-4431-9C55-1F2D581ED9E6}" type="presParOf" srcId="{F0A32F22-079D-4207-B5E8-F13070807E88}" destId="{EC4BB957-C08B-47F0-8B82-C96A558558EB}" srcOrd="10" destOrd="0" presId="urn:microsoft.com/office/officeart/2005/8/layout/radial6"/>
    <dgm:cxn modelId="{0749134B-BD4C-42CB-B66B-235DCEF7B077}" type="presParOf" srcId="{F0A32F22-079D-4207-B5E8-F13070807E88}" destId="{C27344B6-5E1B-4431-A707-6EF94C0E5500}" srcOrd="11" destOrd="0" presId="urn:microsoft.com/office/officeart/2005/8/layout/radial6"/>
    <dgm:cxn modelId="{9734848C-CBA2-4311-81C4-E1D3C4FA5A86}" type="presParOf" srcId="{F0A32F22-079D-4207-B5E8-F13070807E88}" destId="{4C202623-976C-43A2-89A2-6FC03659CC71}" srcOrd="12" destOrd="0" presId="urn:microsoft.com/office/officeart/2005/8/layout/radial6"/>
    <dgm:cxn modelId="{D7DDD9A2-A623-440E-9115-E69B3FA61269}" type="presParOf" srcId="{F0A32F22-079D-4207-B5E8-F13070807E88}" destId="{F2F77CBA-3CFC-4FF9-8C2C-F456AE3929CA}" srcOrd="13" destOrd="0" presId="urn:microsoft.com/office/officeart/2005/8/layout/radial6"/>
    <dgm:cxn modelId="{C22FB3E8-A34B-4297-B5FA-167E176AC9CE}" type="presParOf" srcId="{F0A32F22-079D-4207-B5E8-F13070807E88}" destId="{BE3C1784-92B1-4434-877E-74155591DFE9}" srcOrd="14" destOrd="0" presId="urn:microsoft.com/office/officeart/2005/8/layout/radial6"/>
    <dgm:cxn modelId="{4D71EAA5-4142-4405-AD7A-1D877785C489}" type="presParOf" srcId="{F0A32F22-079D-4207-B5E8-F13070807E88}" destId="{9460389C-BD54-4A9F-BBC8-4DD20AFB4CAD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60389C-BD54-4A9F-BBC8-4DD20AFB4CAD}">
      <dsp:nvSpPr>
        <dsp:cNvPr id="0" name=""/>
        <dsp:cNvSpPr/>
      </dsp:nvSpPr>
      <dsp:spPr>
        <a:xfrm>
          <a:off x="796560" y="419715"/>
          <a:ext cx="2731214" cy="2731214"/>
        </a:xfrm>
        <a:prstGeom prst="blockArc">
          <a:avLst>
            <a:gd name="adj1" fmla="val 1188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202623-976C-43A2-89A2-6FC03659CC71}">
      <dsp:nvSpPr>
        <dsp:cNvPr id="0" name=""/>
        <dsp:cNvSpPr/>
      </dsp:nvSpPr>
      <dsp:spPr>
        <a:xfrm>
          <a:off x="796560" y="419715"/>
          <a:ext cx="2731214" cy="2731214"/>
        </a:xfrm>
        <a:prstGeom prst="blockArc">
          <a:avLst>
            <a:gd name="adj1" fmla="val 7560000"/>
            <a:gd name="adj2" fmla="val 1188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23D891-451E-45D2-A745-09B195156B9A}">
      <dsp:nvSpPr>
        <dsp:cNvPr id="0" name=""/>
        <dsp:cNvSpPr/>
      </dsp:nvSpPr>
      <dsp:spPr>
        <a:xfrm>
          <a:off x="796560" y="419715"/>
          <a:ext cx="2731214" cy="2731214"/>
        </a:xfrm>
        <a:prstGeom prst="blockArc">
          <a:avLst>
            <a:gd name="adj1" fmla="val 3240000"/>
            <a:gd name="adj2" fmla="val 756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03A00D-279A-4810-974D-8CD71440764B}">
      <dsp:nvSpPr>
        <dsp:cNvPr id="0" name=""/>
        <dsp:cNvSpPr/>
      </dsp:nvSpPr>
      <dsp:spPr>
        <a:xfrm>
          <a:off x="796560" y="419715"/>
          <a:ext cx="2731214" cy="2731214"/>
        </a:xfrm>
        <a:prstGeom prst="blockArc">
          <a:avLst>
            <a:gd name="adj1" fmla="val 20520000"/>
            <a:gd name="adj2" fmla="val 324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69F583-D1CE-4BC4-AC14-4D1A3570E39F}">
      <dsp:nvSpPr>
        <dsp:cNvPr id="0" name=""/>
        <dsp:cNvSpPr/>
      </dsp:nvSpPr>
      <dsp:spPr>
        <a:xfrm>
          <a:off x="804726" y="428100"/>
          <a:ext cx="2731214" cy="2731214"/>
        </a:xfrm>
        <a:prstGeom prst="blockArc">
          <a:avLst>
            <a:gd name="adj1" fmla="val 16200000"/>
            <a:gd name="adj2" fmla="val 2052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46965F-AE8D-4488-B21D-E1FA56687E15}">
      <dsp:nvSpPr>
        <dsp:cNvPr id="0" name=""/>
        <dsp:cNvSpPr/>
      </dsp:nvSpPr>
      <dsp:spPr>
        <a:xfrm>
          <a:off x="1442273" y="1065428"/>
          <a:ext cx="1439787" cy="1439787"/>
        </a:xfrm>
        <a:prstGeom prst="ellipse">
          <a:avLst/>
        </a:prstGeom>
        <a:noFill/>
        <a:ln w="1079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COVID-19 vaccine coordination group</a:t>
          </a:r>
        </a:p>
      </dsp:txBody>
      <dsp:txXfrm>
        <a:off x="1653125" y="1276280"/>
        <a:ext cx="1018083" cy="1018083"/>
      </dsp:txXfrm>
    </dsp:sp>
    <dsp:sp modelId="{F0CD5B6E-B95C-4946-821E-288AC06A50FE}">
      <dsp:nvSpPr>
        <dsp:cNvPr id="0" name=""/>
        <dsp:cNvSpPr/>
      </dsp:nvSpPr>
      <dsp:spPr>
        <a:xfrm>
          <a:off x="1553883" y="-156908"/>
          <a:ext cx="1216568" cy="12165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FG5. Risk Communication &amp; Behavioral insights</a:t>
          </a:r>
          <a:endParaRPr lang="en-US" sz="1100" kern="1200" dirty="0"/>
        </a:p>
      </dsp:txBody>
      <dsp:txXfrm>
        <a:off x="1732045" y="21254"/>
        <a:ext cx="860244" cy="860244"/>
      </dsp:txXfrm>
    </dsp:sp>
    <dsp:sp modelId="{49119182-54AB-4067-8F38-28D9BBE368FF}">
      <dsp:nvSpPr>
        <dsp:cNvPr id="0" name=""/>
        <dsp:cNvSpPr/>
      </dsp:nvSpPr>
      <dsp:spPr>
        <a:xfrm>
          <a:off x="2822542" y="764826"/>
          <a:ext cx="1216568" cy="12165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/>
              </a:solidFill>
            </a:rPr>
            <a:t>FG1. </a:t>
          </a:r>
          <a:r>
            <a:rPr lang="en-US" sz="1050" b="1" kern="1200" dirty="0"/>
            <a:t>Advocacy &amp; resource mobilization including equitable access</a:t>
          </a:r>
          <a:endParaRPr lang="en-US" sz="1050" kern="1200" dirty="0"/>
        </a:p>
      </dsp:txBody>
      <dsp:txXfrm>
        <a:off x="3000704" y="942988"/>
        <a:ext cx="860244" cy="860244"/>
      </dsp:txXfrm>
    </dsp:sp>
    <dsp:sp modelId="{402C6B14-2737-42B9-B03C-9CF601AB32DE}">
      <dsp:nvSpPr>
        <dsp:cNvPr id="0" name=""/>
        <dsp:cNvSpPr/>
      </dsp:nvSpPr>
      <dsp:spPr>
        <a:xfrm>
          <a:off x="2337958" y="2256224"/>
          <a:ext cx="1216568" cy="12165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/>
              </a:solidFill>
            </a:rPr>
            <a:t>FG2. </a:t>
          </a:r>
          <a:r>
            <a:rPr lang="en-US" sz="1050" b="1" kern="1200" dirty="0"/>
            <a:t>Immunization strategy &amp; Decision making &amp; Monitoring </a:t>
          </a:r>
          <a:endParaRPr lang="en-US" sz="1050" kern="1200" dirty="0"/>
        </a:p>
      </dsp:txBody>
      <dsp:txXfrm>
        <a:off x="2516120" y="2434386"/>
        <a:ext cx="860244" cy="860244"/>
      </dsp:txXfrm>
    </dsp:sp>
    <dsp:sp modelId="{EC4BB957-C08B-47F0-8B82-C96A558558EB}">
      <dsp:nvSpPr>
        <dsp:cNvPr id="0" name=""/>
        <dsp:cNvSpPr/>
      </dsp:nvSpPr>
      <dsp:spPr>
        <a:xfrm>
          <a:off x="769808" y="2256224"/>
          <a:ext cx="1216568" cy="12165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FG3. </a:t>
          </a:r>
          <a:r>
            <a:rPr lang="en-US" sz="1100" b="1" kern="1200" dirty="0"/>
            <a:t>Vaccine market authorization &amp; Safety monitoring</a:t>
          </a:r>
          <a:endParaRPr lang="en-US" sz="1100" kern="1200" dirty="0"/>
        </a:p>
      </dsp:txBody>
      <dsp:txXfrm>
        <a:off x="947970" y="2434386"/>
        <a:ext cx="860244" cy="860244"/>
      </dsp:txXfrm>
    </dsp:sp>
    <dsp:sp modelId="{F2F77CBA-3CFC-4FF9-8C2C-F456AE3929CA}">
      <dsp:nvSpPr>
        <dsp:cNvPr id="0" name=""/>
        <dsp:cNvSpPr/>
      </dsp:nvSpPr>
      <dsp:spPr>
        <a:xfrm>
          <a:off x="285223" y="764826"/>
          <a:ext cx="1216568" cy="12165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FG4. </a:t>
          </a:r>
          <a:r>
            <a:rPr lang="en-US" sz="1100" b="1" kern="1200" dirty="0"/>
            <a:t>Vaccine supply, Immunization logistics &amp; Service delivery</a:t>
          </a:r>
          <a:endParaRPr lang="en-US" sz="1100" kern="1200" dirty="0"/>
        </a:p>
      </dsp:txBody>
      <dsp:txXfrm>
        <a:off x="463385" y="942988"/>
        <a:ext cx="860244" cy="8602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3F7915-6439-4AEA-9C73-B66B01A52F0C}" type="datetimeFigureOut">
              <a:rPr lang="en-US" smtClean="0"/>
              <a:t>10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BEB4C-1984-4B8E-9047-8254F1271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369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9;p1:notes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Google Shape;190;p1:notes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Google Shape;191;p1:notes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D36BE7-2CC7-42A7-A6C7-322A0A5A6676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2195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Calibri" panose="020F0502020204030204" pitchFamily="34" charset="0"/>
              </a:rPr>
              <a:pPr/>
              <a:t>3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8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9 October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9249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 October 202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68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C709F-9745-41E4-BE42-CDBF35B286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094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3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4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5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6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7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9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0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2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3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159.vml"/><Relationship Id="rId6" Type="http://schemas.openxmlformats.org/officeDocument/2006/relationships/tags" Target="../tags/tag324.xml"/><Relationship Id="rId11" Type="http://schemas.openxmlformats.org/officeDocument/2006/relationships/image" Target="../media/image14.emf"/><Relationship Id="rId5" Type="http://schemas.openxmlformats.org/officeDocument/2006/relationships/tags" Target="../tags/tag323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322.xml"/><Relationship Id="rId9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6.bin"/><Relationship Id="rId13" Type="http://schemas.microsoft.com/office/2007/relationships/hdphoto" Target="../media/hdphoto2.wdp"/><Relationship Id="rId3" Type="http://schemas.openxmlformats.org/officeDocument/2006/relationships/tags" Target="../tags/tag349.xml"/><Relationship Id="rId7" Type="http://schemas.openxmlformats.org/officeDocument/2006/relationships/slideMaster" Target="../slideMasters/slideMaster4.xml"/><Relationship Id="rId12" Type="http://schemas.openxmlformats.org/officeDocument/2006/relationships/image" Target="../media/image23.png"/><Relationship Id="rId2" Type="http://schemas.openxmlformats.org/officeDocument/2006/relationships/tags" Target="../tags/tag348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61.vml"/><Relationship Id="rId6" Type="http://schemas.openxmlformats.org/officeDocument/2006/relationships/tags" Target="../tags/tag352.xml"/><Relationship Id="rId11" Type="http://schemas.microsoft.com/office/2007/relationships/hdphoto" Target="../media/hdphoto1.wdp"/><Relationship Id="rId5" Type="http://schemas.openxmlformats.org/officeDocument/2006/relationships/tags" Target="../tags/tag351.xml"/><Relationship Id="rId15" Type="http://schemas.microsoft.com/office/2007/relationships/hdphoto" Target="../media/hdphoto3.wdp"/><Relationship Id="rId10" Type="http://schemas.openxmlformats.org/officeDocument/2006/relationships/image" Target="../media/image22.png"/><Relationship Id="rId4" Type="http://schemas.openxmlformats.org/officeDocument/2006/relationships/tags" Target="../tags/tag350.xml"/><Relationship Id="rId9" Type="http://schemas.openxmlformats.org/officeDocument/2006/relationships/image" Target="../media/image13.emf"/><Relationship Id="rId14" Type="http://schemas.openxmlformats.org/officeDocument/2006/relationships/image" Target="../media/image2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7.bin"/><Relationship Id="rId13" Type="http://schemas.microsoft.com/office/2007/relationships/hdphoto" Target="../media/hdphoto2.wdp"/><Relationship Id="rId3" Type="http://schemas.openxmlformats.org/officeDocument/2006/relationships/tags" Target="../tags/tag354.xml"/><Relationship Id="rId7" Type="http://schemas.openxmlformats.org/officeDocument/2006/relationships/slideMaster" Target="../slideMasters/slideMaster4.xml"/><Relationship Id="rId12" Type="http://schemas.openxmlformats.org/officeDocument/2006/relationships/image" Target="../media/image23.png"/><Relationship Id="rId2" Type="http://schemas.openxmlformats.org/officeDocument/2006/relationships/tags" Target="../tags/tag35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162.vml"/><Relationship Id="rId6" Type="http://schemas.openxmlformats.org/officeDocument/2006/relationships/tags" Target="../tags/tag357.xml"/><Relationship Id="rId11" Type="http://schemas.microsoft.com/office/2007/relationships/hdphoto" Target="../media/hdphoto1.wdp"/><Relationship Id="rId5" Type="http://schemas.openxmlformats.org/officeDocument/2006/relationships/tags" Target="../tags/tag356.xml"/><Relationship Id="rId15" Type="http://schemas.microsoft.com/office/2007/relationships/hdphoto" Target="../media/hdphoto3.wdp"/><Relationship Id="rId10" Type="http://schemas.openxmlformats.org/officeDocument/2006/relationships/image" Target="../media/image22.png"/><Relationship Id="rId4" Type="http://schemas.openxmlformats.org/officeDocument/2006/relationships/tags" Target="../tags/tag355.xml"/><Relationship Id="rId9" Type="http://schemas.openxmlformats.org/officeDocument/2006/relationships/image" Target="../media/image13.emf"/><Relationship Id="rId14" Type="http://schemas.openxmlformats.org/officeDocument/2006/relationships/image" Target="../media/image24.png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tags" Target="../tags/tag364.xml"/><Relationship Id="rId3" Type="http://schemas.openxmlformats.org/officeDocument/2006/relationships/tags" Target="../tags/tag359.xml"/><Relationship Id="rId7" Type="http://schemas.openxmlformats.org/officeDocument/2006/relationships/tags" Target="../tags/tag363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362.xml"/><Relationship Id="rId11" Type="http://schemas.openxmlformats.org/officeDocument/2006/relationships/image" Target="../media/image14.emf"/><Relationship Id="rId5" Type="http://schemas.openxmlformats.org/officeDocument/2006/relationships/tags" Target="../tags/tag361.xml"/><Relationship Id="rId10" Type="http://schemas.openxmlformats.org/officeDocument/2006/relationships/oleObject" Target="../embeddings/oleObject158.bin"/><Relationship Id="rId4" Type="http://schemas.openxmlformats.org/officeDocument/2006/relationships/tags" Target="../tags/tag360.xml"/><Relationship Id="rId9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6.xml"/><Relationship Id="rId7" Type="http://schemas.openxmlformats.org/officeDocument/2006/relationships/tags" Target="../tags/tag370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64.vml"/><Relationship Id="rId6" Type="http://schemas.openxmlformats.org/officeDocument/2006/relationships/tags" Target="../tags/tag369.xml"/><Relationship Id="rId5" Type="http://schemas.openxmlformats.org/officeDocument/2006/relationships/tags" Target="../tags/tag368.xml"/><Relationship Id="rId10" Type="http://schemas.openxmlformats.org/officeDocument/2006/relationships/image" Target="../media/image13.emf"/><Relationship Id="rId4" Type="http://schemas.openxmlformats.org/officeDocument/2006/relationships/tags" Target="../tags/tag367.xml"/><Relationship Id="rId9" Type="http://schemas.openxmlformats.org/officeDocument/2006/relationships/oleObject" Target="../embeddings/oleObject159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375.xml"/><Relationship Id="rId5" Type="http://schemas.openxmlformats.org/officeDocument/2006/relationships/tags" Target="../tags/tag374.xml"/><Relationship Id="rId10" Type="http://schemas.openxmlformats.org/officeDocument/2006/relationships/image" Target="../media/image13.emf"/><Relationship Id="rId4" Type="http://schemas.openxmlformats.org/officeDocument/2006/relationships/tags" Target="../tags/tag373.xml"/><Relationship Id="rId9" Type="http://schemas.openxmlformats.org/officeDocument/2006/relationships/oleObject" Target="../embeddings/oleObject160.bin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8.xml"/><Relationship Id="rId7" Type="http://schemas.openxmlformats.org/officeDocument/2006/relationships/tags" Target="../tags/tag382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381.xml"/><Relationship Id="rId5" Type="http://schemas.openxmlformats.org/officeDocument/2006/relationships/tags" Target="../tags/tag380.xml"/><Relationship Id="rId10" Type="http://schemas.openxmlformats.org/officeDocument/2006/relationships/image" Target="../media/image13.emf"/><Relationship Id="rId4" Type="http://schemas.openxmlformats.org/officeDocument/2006/relationships/tags" Target="../tags/tag379.xml"/><Relationship Id="rId9" Type="http://schemas.openxmlformats.org/officeDocument/2006/relationships/oleObject" Target="../embeddings/oleObject161.bin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387.xml"/><Relationship Id="rId11" Type="http://schemas.openxmlformats.org/officeDocument/2006/relationships/image" Target="../media/image13.emf"/><Relationship Id="rId5" Type="http://schemas.openxmlformats.org/officeDocument/2006/relationships/tags" Target="../tags/tag386.xml"/><Relationship Id="rId10" Type="http://schemas.openxmlformats.org/officeDocument/2006/relationships/oleObject" Target="../embeddings/oleObject162.bin"/><Relationship Id="rId4" Type="http://schemas.openxmlformats.org/officeDocument/2006/relationships/tags" Target="../tags/tag385.xml"/><Relationship Id="rId9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tags" Target="../tags/tag396.xml"/><Relationship Id="rId3" Type="http://schemas.openxmlformats.org/officeDocument/2006/relationships/tags" Target="../tags/tag391.xml"/><Relationship Id="rId7" Type="http://schemas.openxmlformats.org/officeDocument/2006/relationships/tags" Target="../tags/tag395.xml"/><Relationship Id="rId12" Type="http://schemas.openxmlformats.org/officeDocument/2006/relationships/image" Target="../media/image14.emf"/><Relationship Id="rId2" Type="http://schemas.openxmlformats.org/officeDocument/2006/relationships/tags" Target="../tags/tag390.xml"/><Relationship Id="rId1" Type="http://schemas.openxmlformats.org/officeDocument/2006/relationships/vmlDrawing" Target="../drawings/vmlDrawing168.vml"/><Relationship Id="rId6" Type="http://schemas.openxmlformats.org/officeDocument/2006/relationships/tags" Target="../tags/tag394.xml"/><Relationship Id="rId11" Type="http://schemas.openxmlformats.org/officeDocument/2006/relationships/oleObject" Target="../embeddings/oleObject163.bin"/><Relationship Id="rId5" Type="http://schemas.openxmlformats.org/officeDocument/2006/relationships/tags" Target="../tags/tag39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92.xml"/><Relationship Id="rId9" Type="http://schemas.openxmlformats.org/officeDocument/2006/relationships/tags" Target="../tags/tag397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12" Type="http://schemas.openxmlformats.org/officeDocument/2006/relationships/image" Target="../media/image14.emf"/><Relationship Id="rId2" Type="http://schemas.openxmlformats.org/officeDocument/2006/relationships/tags" Target="../tags/tag398.xml"/><Relationship Id="rId1" Type="http://schemas.openxmlformats.org/officeDocument/2006/relationships/vmlDrawing" Target="../drawings/vmlDrawing169.vml"/><Relationship Id="rId6" Type="http://schemas.openxmlformats.org/officeDocument/2006/relationships/tags" Target="../tags/tag402.xml"/><Relationship Id="rId11" Type="http://schemas.openxmlformats.org/officeDocument/2006/relationships/oleObject" Target="../embeddings/oleObject164.bin"/><Relationship Id="rId5" Type="http://schemas.openxmlformats.org/officeDocument/2006/relationships/tags" Target="../tags/tag40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00.xml"/><Relationship Id="rId9" Type="http://schemas.openxmlformats.org/officeDocument/2006/relationships/tags" Target="../tags/tag405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12" Type="http://schemas.openxmlformats.org/officeDocument/2006/relationships/image" Target="../media/image13.emf"/><Relationship Id="rId2" Type="http://schemas.openxmlformats.org/officeDocument/2006/relationships/tags" Target="../tags/tag406.xml"/><Relationship Id="rId1" Type="http://schemas.openxmlformats.org/officeDocument/2006/relationships/vmlDrawing" Target="../drawings/vmlDrawing170.vml"/><Relationship Id="rId6" Type="http://schemas.openxmlformats.org/officeDocument/2006/relationships/tags" Target="../tags/tag410.xml"/><Relationship Id="rId11" Type="http://schemas.openxmlformats.org/officeDocument/2006/relationships/oleObject" Target="../embeddings/oleObject165.bin"/><Relationship Id="rId5" Type="http://schemas.openxmlformats.org/officeDocument/2006/relationships/tags" Target="../tags/tag40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08.xml"/><Relationship Id="rId9" Type="http://schemas.openxmlformats.org/officeDocument/2006/relationships/tags" Target="../tags/tag413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420.xml"/><Relationship Id="rId3" Type="http://schemas.openxmlformats.org/officeDocument/2006/relationships/tags" Target="../tags/tag415.xml"/><Relationship Id="rId7" Type="http://schemas.openxmlformats.org/officeDocument/2006/relationships/tags" Target="../tags/tag419.xml"/><Relationship Id="rId12" Type="http://schemas.openxmlformats.org/officeDocument/2006/relationships/image" Target="../media/image14.emf"/><Relationship Id="rId2" Type="http://schemas.openxmlformats.org/officeDocument/2006/relationships/tags" Target="../tags/tag414.xml"/><Relationship Id="rId1" Type="http://schemas.openxmlformats.org/officeDocument/2006/relationships/vmlDrawing" Target="../drawings/vmlDrawing171.vml"/><Relationship Id="rId6" Type="http://schemas.openxmlformats.org/officeDocument/2006/relationships/tags" Target="../tags/tag418.xml"/><Relationship Id="rId11" Type="http://schemas.openxmlformats.org/officeDocument/2006/relationships/oleObject" Target="../embeddings/oleObject166.bin"/><Relationship Id="rId5" Type="http://schemas.openxmlformats.org/officeDocument/2006/relationships/tags" Target="../tags/tag41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16.xml"/><Relationship Id="rId9" Type="http://schemas.openxmlformats.org/officeDocument/2006/relationships/tags" Target="../tags/tag42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3" Type="http://schemas.openxmlformats.org/officeDocument/2006/relationships/tags" Target="../tags/tag423.xml"/><Relationship Id="rId7" Type="http://schemas.openxmlformats.org/officeDocument/2006/relationships/tags" Target="../tags/tag427.xml"/><Relationship Id="rId12" Type="http://schemas.openxmlformats.org/officeDocument/2006/relationships/image" Target="../media/image13.emf"/><Relationship Id="rId2" Type="http://schemas.openxmlformats.org/officeDocument/2006/relationships/tags" Target="../tags/tag422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426.xml"/><Relationship Id="rId11" Type="http://schemas.openxmlformats.org/officeDocument/2006/relationships/oleObject" Target="../embeddings/oleObject167.bin"/><Relationship Id="rId5" Type="http://schemas.openxmlformats.org/officeDocument/2006/relationships/tags" Target="../tags/tag42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24.xml"/><Relationship Id="rId9" Type="http://schemas.openxmlformats.org/officeDocument/2006/relationships/tags" Target="../tags/tag429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173.vml"/><Relationship Id="rId6" Type="http://schemas.openxmlformats.org/officeDocument/2006/relationships/tags" Target="../tags/tag434.xml"/><Relationship Id="rId5" Type="http://schemas.openxmlformats.org/officeDocument/2006/relationships/tags" Target="../tags/tag433.xml"/><Relationship Id="rId10" Type="http://schemas.openxmlformats.org/officeDocument/2006/relationships/image" Target="../media/image13.emf"/><Relationship Id="rId4" Type="http://schemas.openxmlformats.org/officeDocument/2006/relationships/tags" Target="../tags/tag432.xml"/><Relationship Id="rId9" Type="http://schemas.openxmlformats.org/officeDocument/2006/relationships/oleObject" Target="../embeddings/oleObject168.bin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437.xml"/><Relationship Id="rId7" Type="http://schemas.openxmlformats.org/officeDocument/2006/relationships/oleObject" Target="../embeddings/oleObject169.bin"/><Relationship Id="rId2" Type="http://schemas.openxmlformats.org/officeDocument/2006/relationships/tags" Target="../tags/tag436.xml"/><Relationship Id="rId1" Type="http://schemas.openxmlformats.org/officeDocument/2006/relationships/vmlDrawing" Target="../drawings/vmlDrawing17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39.xml"/><Relationship Id="rId4" Type="http://schemas.openxmlformats.org/officeDocument/2006/relationships/tags" Target="../tags/tag438.xml"/></Relationships>
</file>

<file path=ppt/slideLayouts/_rels/slideLayout18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3.wdp"/><Relationship Id="rId3" Type="http://schemas.openxmlformats.org/officeDocument/2006/relationships/tags" Target="../tags/tag441.xml"/><Relationship Id="rId7" Type="http://schemas.openxmlformats.org/officeDocument/2006/relationships/image" Target="../media/image22.png"/><Relationship Id="rId12" Type="http://schemas.openxmlformats.org/officeDocument/2006/relationships/image" Target="../media/image24.png"/><Relationship Id="rId2" Type="http://schemas.openxmlformats.org/officeDocument/2006/relationships/tags" Target="../tags/tag440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3.emf"/><Relationship Id="rId11" Type="http://schemas.microsoft.com/office/2007/relationships/hdphoto" Target="../media/hdphoto2.wdp"/><Relationship Id="rId5" Type="http://schemas.openxmlformats.org/officeDocument/2006/relationships/oleObject" Target="../embeddings/oleObject170.bin"/><Relationship Id="rId10" Type="http://schemas.openxmlformats.org/officeDocument/2006/relationships/image" Target="../media/image23.pn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5.png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2.bin"/><Relationship Id="rId3" Type="http://schemas.openxmlformats.org/officeDocument/2006/relationships/tags" Target="../tags/tag46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62.xml"/><Relationship Id="rId1" Type="http://schemas.openxmlformats.org/officeDocument/2006/relationships/vmlDrawing" Target="../drawings/vmlDrawing177.vml"/><Relationship Id="rId6" Type="http://schemas.openxmlformats.org/officeDocument/2006/relationships/tags" Target="../tags/tag466.xml"/><Relationship Id="rId5" Type="http://schemas.openxmlformats.org/officeDocument/2006/relationships/tags" Target="../tags/tag465.xml"/><Relationship Id="rId10" Type="http://schemas.openxmlformats.org/officeDocument/2006/relationships/image" Target="../media/image16.png"/><Relationship Id="rId4" Type="http://schemas.openxmlformats.org/officeDocument/2006/relationships/tags" Target="../tags/tag464.xml"/><Relationship Id="rId9" Type="http://schemas.openxmlformats.org/officeDocument/2006/relationships/image" Target="../media/image13.emf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3.bin"/><Relationship Id="rId3" Type="http://schemas.openxmlformats.org/officeDocument/2006/relationships/tags" Target="../tags/tag468.xml"/><Relationship Id="rId7" Type="http://schemas.openxmlformats.org/officeDocument/2006/relationships/slideMaster" Target="../slideMasters/slideMaster5.xml"/><Relationship Id="rId12" Type="http://schemas.openxmlformats.org/officeDocument/2006/relationships/image" Target="../media/image17.png"/><Relationship Id="rId2" Type="http://schemas.openxmlformats.org/officeDocument/2006/relationships/tags" Target="../tags/tag467.xml"/><Relationship Id="rId1" Type="http://schemas.openxmlformats.org/officeDocument/2006/relationships/vmlDrawing" Target="../drawings/vmlDrawing178.vml"/><Relationship Id="rId6" Type="http://schemas.openxmlformats.org/officeDocument/2006/relationships/tags" Target="../tags/tag471.xml"/><Relationship Id="rId11" Type="http://schemas.openxmlformats.org/officeDocument/2006/relationships/image" Target="../media/image16.png"/><Relationship Id="rId5" Type="http://schemas.openxmlformats.org/officeDocument/2006/relationships/tags" Target="../tags/tag470.xml"/><Relationship Id="rId10" Type="http://schemas.openxmlformats.org/officeDocument/2006/relationships/image" Target="../media/image15.png"/><Relationship Id="rId4" Type="http://schemas.openxmlformats.org/officeDocument/2006/relationships/tags" Target="../tags/tag469.xml"/><Relationship Id="rId9" Type="http://schemas.openxmlformats.org/officeDocument/2006/relationships/image" Target="../media/image13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tags" Target="../tags/tag478.xml"/><Relationship Id="rId3" Type="http://schemas.openxmlformats.org/officeDocument/2006/relationships/tags" Target="../tags/tag473.xml"/><Relationship Id="rId7" Type="http://schemas.openxmlformats.org/officeDocument/2006/relationships/tags" Target="../tags/tag477.xml"/><Relationship Id="rId2" Type="http://schemas.openxmlformats.org/officeDocument/2006/relationships/tags" Target="../tags/tag472.xml"/><Relationship Id="rId1" Type="http://schemas.openxmlformats.org/officeDocument/2006/relationships/vmlDrawing" Target="../drawings/vmlDrawing179.vml"/><Relationship Id="rId6" Type="http://schemas.openxmlformats.org/officeDocument/2006/relationships/tags" Target="../tags/tag476.xml"/><Relationship Id="rId11" Type="http://schemas.openxmlformats.org/officeDocument/2006/relationships/image" Target="../media/image14.emf"/><Relationship Id="rId5" Type="http://schemas.openxmlformats.org/officeDocument/2006/relationships/tags" Target="../tags/tag475.xml"/><Relationship Id="rId10" Type="http://schemas.openxmlformats.org/officeDocument/2006/relationships/oleObject" Target="../embeddings/oleObject174.bin"/><Relationship Id="rId4" Type="http://schemas.openxmlformats.org/officeDocument/2006/relationships/tags" Target="../tags/tag474.xml"/><Relationship Id="rId9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vmlDrawing" Target="../drawings/vmlDrawing180.vml"/><Relationship Id="rId6" Type="http://schemas.openxmlformats.org/officeDocument/2006/relationships/tags" Target="../tags/tag483.xml"/><Relationship Id="rId5" Type="http://schemas.openxmlformats.org/officeDocument/2006/relationships/tags" Target="../tags/tag482.xml"/><Relationship Id="rId10" Type="http://schemas.openxmlformats.org/officeDocument/2006/relationships/image" Target="../media/image13.emf"/><Relationship Id="rId4" Type="http://schemas.openxmlformats.org/officeDocument/2006/relationships/tags" Target="../tags/tag481.xml"/><Relationship Id="rId9" Type="http://schemas.openxmlformats.org/officeDocument/2006/relationships/oleObject" Target="../embeddings/oleObject175.bin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86.xml"/><Relationship Id="rId7" Type="http://schemas.openxmlformats.org/officeDocument/2006/relationships/tags" Target="../tags/tag490.xml"/><Relationship Id="rId2" Type="http://schemas.openxmlformats.org/officeDocument/2006/relationships/tags" Target="../tags/tag485.xml"/><Relationship Id="rId1" Type="http://schemas.openxmlformats.org/officeDocument/2006/relationships/vmlDrawing" Target="../drawings/vmlDrawing181.vml"/><Relationship Id="rId6" Type="http://schemas.openxmlformats.org/officeDocument/2006/relationships/tags" Target="../tags/tag489.xml"/><Relationship Id="rId5" Type="http://schemas.openxmlformats.org/officeDocument/2006/relationships/tags" Target="../tags/tag488.xml"/><Relationship Id="rId10" Type="http://schemas.openxmlformats.org/officeDocument/2006/relationships/image" Target="../media/image13.emf"/><Relationship Id="rId4" Type="http://schemas.openxmlformats.org/officeDocument/2006/relationships/tags" Target="../tags/tag487.xml"/><Relationship Id="rId9" Type="http://schemas.openxmlformats.org/officeDocument/2006/relationships/oleObject" Target="../embeddings/oleObject176.bin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2" Type="http://schemas.openxmlformats.org/officeDocument/2006/relationships/tags" Target="../tags/tag491.xml"/><Relationship Id="rId1" Type="http://schemas.openxmlformats.org/officeDocument/2006/relationships/vmlDrawing" Target="../drawings/vmlDrawing182.vml"/><Relationship Id="rId6" Type="http://schemas.openxmlformats.org/officeDocument/2006/relationships/tags" Target="../tags/tag495.xml"/><Relationship Id="rId5" Type="http://schemas.openxmlformats.org/officeDocument/2006/relationships/tags" Target="../tags/tag494.xml"/><Relationship Id="rId10" Type="http://schemas.openxmlformats.org/officeDocument/2006/relationships/image" Target="../media/image13.emf"/><Relationship Id="rId4" Type="http://schemas.openxmlformats.org/officeDocument/2006/relationships/tags" Target="../tags/tag493.xml"/><Relationship Id="rId9" Type="http://schemas.openxmlformats.org/officeDocument/2006/relationships/oleObject" Target="../embeddings/oleObject17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503.xml"/><Relationship Id="rId3" Type="http://schemas.openxmlformats.org/officeDocument/2006/relationships/tags" Target="../tags/tag498.xml"/><Relationship Id="rId7" Type="http://schemas.openxmlformats.org/officeDocument/2006/relationships/tags" Target="../tags/tag502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501.xml"/><Relationship Id="rId11" Type="http://schemas.openxmlformats.org/officeDocument/2006/relationships/image" Target="../media/image13.emf"/><Relationship Id="rId5" Type="http://schemas.openxmlformats.org/officeDocument/2006/relationships/tags" Target="../tags/tag500.xml"/><Relationship Id="rId10" Type="http://schemas.openxmlformats.org/officeDocument/2006/relationships/oleObject" Target="../embeddings/oleObject178.bin"/><Relationship Id="rId4" Type="http://schemas.openxmlformats.org/officeDocument/2006/relationships/tags" Target="../tags/tag499.xml"/><Relationship Id="rId9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510.xml"/><Relationship Id="rId3" Type="http://schemas.openxmlformats.org/officeDocument/2006/relationships/tags" Target="../tags/tag505.xml"/><Relationship Id="rId7" Type="http://schemas.openxmlformats.org/officeDocument/2006/relationships/tags" Target="../tags/tag509.xml"/><Relationship Id="rId12" Type="http://schemas.openxmlformats.org/officeDocument/2006/relationships/image" Target="../media/image14.emf"/><Relationship Id="rId2" Type="http://schemas.openxmlformats.org/officeDocument/2006/relationships/tags" Target="../tags/tag504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508.xml"/><Relationship Id="rId11" Type="http://schemas.openxmlformats.org/officeDocument/2006/relationships/oleObject" Target="../embeddings/oleObject179.bin"/><Relationship Id="rId5" Type="http://schemas.openxmlformats.org/officeDocument/2006/relationships/tags" Target="../tags/tag50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06.xml"/><Relationship Id="rId9" Type="http://schemas.openxmlformats.org/officeDocument/2006/relationships/tags" Target="../tags/tag511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12" Type="http://schemas.openxmlformats.org/officeDocument/2006/relationships/image" Target="../media/image14.emf"/><Relationship Id="rId2" Type="http://schemas.openxmlformats.org/officeDocument/2006/relationships/tags" Target="../tags/tag512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516.xml"/><Relationship Id="rId11" Type="http://schemas.openxmlformats.org/officeDocument/2006/relationships/oleObject" Target="../embeddings/oleObject180.bin"/><Relationship Id="rId5" Type="http://schemas.openxmlformats.org/officeDocument/2006/relationships/tags" Target="../tags/tag515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14.xml"/><Relationship Id="rId9" Type="http://schemas.openxmlformats.org/officeDocument/2006/relationships/tags" Target="../tags/tag519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image" Target="../media/image14.emf"/><Relationship Id="rId2" Type="http://schemas.openxmlformats.org/officeDocument/2006/relationships/tags" Target="../tags/tag520.xml"/><Relationship Id="rId1" Type="http://schemas.openxmlformats.org/officeDocument/2006/relationships/vmlDrawing" Target="../drawings/vmlDrawing186.vml"/><Relationship Id="rId6" Type="http://schemas.openxmlformats.org/officeDocument/2006/relationships/tags" Target="../tags/tag524.xml"/><Relationship Id="rId11" Type="http://schemas.openxmlformats.org/officeDocument/2006/relationships/oleObject" Target="../embeddings/oleObject181.bin"/><Relationship Id="rId5" Type="http://schemas.openxmlformats.org/officeDocument/2006/relationships/tags" Target="../tags/tag523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22.xml"/><Relationship Id="rId9" Type="http://schemas.openxmlformats.org/officeDocument/2006/relationships/tags" Target="../tags/tag527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tags" Target="../tags/tag534.xml"/><Relationship Id="rId3" Type="http://schemas.openxmlformats.org/officeDocument/2006/relationships/tags" Target="../tags/tag529.xml"/><Relationship Id="rId7" Type="http://schemas.openxmlformats.org/officeDocument/2006/relationships/tags" Target="../tags/tag533.xml"/><Relationship Id="rId12" Type="http://schemas.openxmlformats.org/officeDocument/2006/relationships/image" Target="../media/image18.emf"/><Relationship Id="rId2" Type="http://schemas.openxmlformats.org/officeDocument/2006/relationships/tags" Target="../tags/tag528.xml"/><Relationship Id="rId1" Type="http://schemas.openxmlformats.org/officeDocument/2006/relationships/vmlDrawing" Target="../drawings/vmlDrawing187.vml"/><Relationship Id="rId6" Type="http://schemas.openxmlformats.org/officeDocument/2006/relationships/tags" Target="../tags/tag532.xml"/><Relationship Id="rId11" Type="http://schemas.openxmlformats.org/officeDocument/2006/relationships/oleObject" Target="../embeddings/oleObject182.bin"/><Relationship Id="rId5" Type="http://schemas.openxmlformats.org/officeDocument/2006/relationships/tags" Target="../tags/tag531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30.xml"/><Relationship Id="rId9" Type="http://schemas.openxmlformats.org/officeDocument/2006/relationships/tags" Target="../tags/tag535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12" Type="http://schemas.openxmlformats.org/officeDocument/2006/relationships/image" Target="../media/image14.emf"/><Relationship Id="rId2" Type="http://schemas.openxmlformats.org/officeDocument/2006/relationships/tags" Target="../tags/tag536.xml"/><Relationship Id="rId1" Type="http://schemas.openxmlformats.org/officeDocument/2006/relationships/vmlDrawing" Target="../drawings/vmlDrawing188.vml"/><Relationship Id="rId6" Type="http://schemas.openxmlformats.org/officeDocument/2006/relationships/tags" Target="../tags/tag540.xml"/><Relationship Id="rId11" Type="http://schemas.openxmlformats.org/officeDocument/2006/relationships/oleObject" Target="../embeddings/oleObject183.bin"/><Relationship Id="rId5" Type="http://schemas.openxmlformats.org/officeDocument/2006/relationships/tags" Target="../tags/tag539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38.xml"/><Relationship Id="rId9" Type="http://schemas.openxmlformats.org/officeDocument/2006/relationships/tags" Target="../tags/tag543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189.vml"/><Relationship Id="rId6" Type="http://schemas.openxmlformats.org/officeDocument/2006/relationships/tags" Target="../tags/tag548.xml"/><Relationship Id="rId5" Type="http://schemas.openxmlformats.org/officeDocument/2006/relationships/tags" Target="../tags/tag547.xml"/><Relationship Id="rId10" Type="http://schemas.openxmlformats.org/officeDocument/2006/relationships/image" Target="../media/image13.emf"/><Relationship Id="rId4" Type="http://schemas.openxmlformats.org/officeDocument/2006/relationships/tags" Target="../tags/tag546.xml"/><Relationship Id="rId9" Type="http://schemas.openxmlformats.org/officeDocument/2006/relationships/oleObject" Target="../embeddings/oleObject184.bin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551.xml"/><Relationship Id="rId7" Type="http://schemas.openxmlformats.org/officeDocument/2006/relationships/oleObject" Target="../embeddings/oleObject185.bin"/><Relationship Id="rId2" Type="http://schemas.openxmlformats.org/officeDocument/2006/relationships/tags" Target="../tags/tag550.xml"/><Relationship Id="rId1" Type="http://schemas.openxmlformats.org/officeDocument/2006/relationships/vmlDrawing" Target="../drawings/vmlDrawing19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3.xml"/><Relationship Id="rId4" Type="http://schemas.openxmlformats.org/officeDocument/2006/relationships/tags" Target="../tags/tag552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55.xml"/><Relationship Id="rId7" Type="http://schemas.openxmlformats.org/officeDocument/2006/relationships/image" Target="../media/image19.png"/><Relationship Id="rId2" Type="http://schemas.openxmlformats.org/officeDocument/2006/relationships/tags" Target="../tags/tag554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1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557.xml"/><Relationship Id="rId7" Type="http://schemas.openxmlformats.org/officeDocument/2006/relationships/image" Target="../media/image14.emf"/><Relationship Id="rId2" Type="http://schemas.openxmlformats.org/officeDocument/2006/relationships/tags" Target="../tags/tag556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8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5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tags" Target="../tags/tag565.xml"/><Relationship Id="rId13" Type="http://schemas.openxmlformats.org/officeDocument/2006/relationships/tags" Target="../tags/tag570.xml"/><Relationship Id="rId18" Type="http://schemas.openxmlformats.org/officeDocument/2006/relationships/image" Target="../media/image14.emf"/><Relationship Id="rId3" Type="http://schemas.openxmlformats.org/officeDocument/2006/relationships/tags" Target="../tags/tag560.xml"/><Relationship Id="rId7" Type="http://schemas.openxmlformats.org/officeDocument/2006/relationships/tags" Target="../tags/tag564.xml"/><Relationship Id="rId12" Type="http://schemas.openxmlformats.org/officeDocument/2006/relationships/tags" Target="../tags/tag569.xml"/><Relationship Id="rId17" Type="http://schemas.openxmlformats.org/officeDocument/2006/relationships/oleObject" Target="../embeddings/oleObject188.bin"/><Relationship Id="rId2" Type="http://schemas.openxmlformats.org/officeDocument/2006/relationships/tags" Target="../tags/tag559.xml"/><Relationship Id="rId16" Type="http://schemas.openxmlformats.org/officeDocument/2006/relationships/slideMaster" Target="../slideMasters/slideMaster5.xml"/><Relationship Id="rId1" Type="http://schemas.openxmlformats.org/officeDocument/2006/relationships/vmlDrawing" Target="../drawings/vmlDrawing193.vml"/><Relationship Id="rId6" Type="http://schemas.openxmlformats.org/officeDocument/2006/relationships/tags" Target="../tags/tag563.xml"/><Relationship Id="rId11" Type="http://schemas.openxmlformats.org/officeDocument/2006/relationships/tags" Target="../tags/tag568.xml"/><Relationship Id="rId5" Type="http://schemas.openxmlformats.org/officeDocument/2006/relationships/tags" Target="../tags/tag562.xml"/><Relationship Id="rId15" Type="http://schemas.openxmlformats.org/officeDocument/2006/relationships/tags" Target="../tags/tag572.xml"/><Relationship Id="rId10" Type="http://schemas.openxmlformats.org/officeDocument/2006/relationships/tags" Target="../tags/tag567.xml"/><Relationship Id="rId4" Type="http://schemas.openxmlformats.org/officeDocument/2006/relationships/tags" Target="../tags/tag561.xml"/><Relationship Id="rId9" Type="http://schemas.openxmlformats.org/officeDocument/2006/relationships/tags" Target="../tags/tag566.xml"/><Relationship Id="rId14" Type="http://schemas.openxmlformats.org/officeDocument/2006/relationships/tags" Target="../tags/tag571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76.xml"/><Relationship Id="rId7" Type="http://schemas.openxmlformats.org/officeDocument/2006/relationships/image" Target="../media/image3.emf"/><Relationship Id="rId2" Type="http://schemas.openxmlformats.org/officeDocument/2006/relationships/tags" Target="../tags/tag575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5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2" Type="http://schemas.openxmlformats.org/officeDocument/2006/relationships/tags" Target="../tags/tag577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2" Type="http://schemas.openxmlformats.org/officeDocument/2006/relationships/tags" Target="../tags/tag579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582.xml"/><Relationship Id="rId2" Type="http://schemas.openxmlformats.org/officeDocument/2006/relationships/tags" Target="../tags/tag581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2" Type="http://schemas.openxmlformats.org/officeDocument/2006/relationships/tags" Target="../tags/tag583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2" Type="http://schemas.openxmlformats.org/officeDocument/2006/relationships/tags" Target="../tags/tag585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588.xml"/><Relationship Id="rId7" Type="http://schemas.openxmlformats.org/officeDocument/2006/relationships/image" Target="../media/image8.png"/><Relationship Id="rId2" Type="http://schemas.openxmlformats.org/officeDocument/2006/relationships/tags" Target="../tags/tag587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590.xml"/><Relationship Id="rId7" Type="http://schemas.openxmlformats.org/officeDocument/2006/relationships/image" Target="../media/image8.png"/><Relationship Id="rId2" Type="http://schemas.openxmlformats.org/officeDocument/2006/relationships/tags" Target="../tags/tag589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7" Type="http://schemas.openxmlformats.org/officeDocument/2006/relationships/image" Target="../media/image8.png"/><Relationship Id="rId2" Type="http://schemas.openxmlformats.org/officeDocument/2006/relationships/tags" Target="../tags/tag591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7" Type="http://schemas.openxmlformats.org/officeDocument/2006/relationships/image" Target="../media/image8.png"/><Relationship Id="rId2" Type="http://schemas.openxmlformats.org/officeDocument/2006/relationships/tags" Target="../tags/tag593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7" Type="http://schemas.openxmlformats.org/officeDocument/2006/relationships/image" Target="../media/image8.png"/><Relationship Id="rId2" Type="http://schemas.openxmlformats.org/officeDocument/2006/relationships/tags" Target="../tags/tag595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9.png"/><Relationship Id="rId2" Type="http://schemas.openxmlformats.org/officeDocument/2006/relationships/tags" Target="../tags/tag597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600.xml"/><Relationship Id="rId7" Type="http://schemas.openxmlformats.org/officeDocument/2006/relationships/image" Target="../media/image10.png"/><Relationship Id="rId2" Type="http://schemas.openxmlformats.org/officeDocument/2006/relationships/tags" Target="../tags/tag599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7" Type="http://schemas.openxmlformats.org/officeDocument/2006/relationships/image" Target="../media/image12.png"/><Relationship Id="rId2" Type="http://schemas.openxmlformats.org/officeDocument/2006/relationships/tags" Target="../tags/tag601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7" Type="http://schemas.openxmlformats.org/officeDocument/2006/relationships/image" Target="../media/image10.png"/><Relationship Id="rId2" Type="http://schemas.openxmlformats.org/officeDocument/2006/relationships/tags" Target="../tags/tag603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606.xml"/><Relationship Id="rId7" Type="http://schemas.openxmlformats.org/officeDocument/2006/relationships/image" Target="../media/image9.png"/><Relationship Id="rId2" Type="http://schemas.openxmlformats.org/officeDocument/2006/relationships/tags" Target="../tags/tag605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608.xml"/><Relationship Id="rId7" Type="http://schemas.openxmlformats.org/officeDocument/2006/relationships/image" Target="../media/image10.png"/><Relationship Id="rId2" Type="http://schemas.openxmlformats.org/officeDocument/2006/relationships/tags" Target="../tags/tag607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7" Type="http://schemas.openxmlformats.org/officeDocument/2006/relationships/image" Target="../media/image9.png"/><Relationship Id="rId2" Type="http://schemas.openxmlformats.org/officeDocument/2006/relationships/tags" Target="../tags/tag609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612.xml"/><Relationship Id="rId7" Type="http://schemas.openxmlformats.org/officeDocument/2006/relationships/image" Target="../media/image10.png"/><Relationship Id="rId2" Type="http://schemas.openxmlformats.org/officeDocument/2006/relationships/tags" Target="../tags/tag611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614.xml"/><Relationship Id="rId2" Type="http://schemas.openxmlformats.org/officeDocument/2006/relationships/tags" Target="../tags/tag613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616.xml"/><Relationship Id="rId2" Type="http://schemas.openxmlformats.org/officeDocument/2006/relationships/tags" Target="../tags/tag615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619.xml"/><Relationship Id="rId2" Type="http://schemas.openxmlformats.org/officeDocument/2006/relationships/tags" Target="../tags/tag618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0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3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1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4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2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5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3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6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7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26.xml"/><Relationship Id="rId7" Type="http://schemas.openxmlformats.org/officeDocument/2006/relationships/image" Target="../media/image3.emf"/><Relationship Id="rId2" Type="http://schemas.openxmlformats.org/officeDocument/2006/relationships/tags" Target="../tags/tag625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8.bin"/><Relationship Id="rId4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628.xml"/><Relationship Id="rId2" Type="http://schemas.openxmlformats.org/officeDocument/2006/relationships/tags" Target="../tags/tag627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630.xml"/><Relationship Id="rId2" Type="http://schemas.openxmlformats.org/officeDocument/2006/relationships/tags" Target="../tags/tag629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632.xml"/><Relationship Id="rId2" Type="http://schemas.openxmlformats.org/officeDocument/2006/relationships/tags" Target="../tags/tag631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1.bin"/><Relationship Id="rId4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2" Type="http://schemas.openxmlformats.org/officeDocument/2006/relationships/tags" Target="../tags/tag633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636.xml"/><Relationship Id="rId2" Type="http://schemas.openxmlformats.org/officeDocument/2006/relationships/tags" Target="../tags/tag635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638.xml"/><Relationship Id="rId7" Type="http://schemas.openxmlformats.org/officeDocument/2006/relationships/image" Target="../media/image8.png"/><Relationship Id="rId2" Type="http://schemas.openxmlformats.org/officeDocument/2006/relationships/tags" Target="../tags/tag637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640.xml"/><Relationship Id="rId7" Type="http://schemas.openxmlformats.org/officeDocument/2006/relationships/image" Target="../media/image8.png"/><Relationship Id="rId2" Type="http://schemas.openxmlformats.org/officeDocument/2006/relationships/tags" Target="../tags/tag639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642.xml"/><Relationship Id="rId7" Type="http://schemas.openxmlformats.org/officeDocument/2006/relationships/image" Target="../media/image8.png"/><Relationship Id="rId2" Type="http://schemas.openxmlformats.org/officeDocument/2006/relationships/tags" Target="../tags/tag641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6.bin"/><Relationship Id="rId4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644.xml"/><Relationship Id="rId7" Type="http://schemas.openxmlformats.org/officeDocument/2006/relationships/image" Target="../media/image8.png"/><Relationship Id="rId2" Type="http://schemas.openxmlformats.org/officeDocument/2006/relationships/tags" Target="../tags/tag643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7" Type="http://schemas.openxmlformats.org/officeDocument/2006/relationships/image" Target="../media/image8.png"/><Relationship Id="rId2" Type="http://schemas.openxmlformats.org/officeDocument/2006/relationships/tags" Target="../tags/tag645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648.xml"/><Relationship Id="rId7" Type="http://schemas.openxmlformats.org/officeDocument/2006/relationships/image" Target="../media/image8.png"/><Relationship Id="rId2" Type="http://schemas.openxmlformats.org/officeDocument/2006/relationships/tags" Target="../tags/tag647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9.bin"/><Relationship Id="rId4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650.xml"/><Relationship Id="rId7" Type="http://schemas.openxmlformats.org/officeDocument/2006/relationships/image" Target="../media/image9.png"/><Relationship Id="rId2" Type="http://schemas.openxmlformats.org/officeDocument/2006/relationships/tags" Target="../tags/tag649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7" Type="http://schemas.openxmlformats.org/officeDocument/2006/relationships/image" Target="../media/image10.png"/><Relationship Id="rId2" Type="http://schemas.openxmlformats.org/officeDocument/2006/relationships/tags" Target="../tags/tag651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654.xml"/><Relationship Id="rId7" Type="http://schemas.openxmlformats.org/officeDocument/2006/relationships/image" Target="../media/image12.png"/><Relationship Id="rId2" Type="http://schemas.openxmlformats.org/officeDocument/2006/relationships/tags" Target="../tags/tag653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2.bin"/><Relationship Id="rId4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656.xml"/><Relationship Id="rId7" Type="http://schemas.openxmlformats.org/officeDocument/2006/relationships/image" Target="../media/image10.png"/><Relationship Id="rId2" Type="http://schemas.openxmlformats.org/officeDocument/2006/relationships/tags" Target="../tags/tag655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658.xml"/><Relationship Id="rId7" Type="http://schemas.openxmlformats.org/officeDocument/2006/relationships/image" Target="../media/image9.png"/><Relationship Id="rId2" Type="http://schemas.openxmlformats.org/officeDocument/2006/relationships/tags" Target="../tags/tag657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4.bin"/><Relationship Id="rId4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7" Type="http://schemas.openxmlformats.org/officeDocument/2006/relationships/image" Target="../media/image10.png"/><Relationship Id="rId2" Type="http://schemas.openxmlformats.org/officeDocument/2006/relationships/tags" Target="../tags/tag659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662.xml"/><Relationship Id="rId7" Type="http://schemas.openxmlformats.org/officeDocument/2006/relationships/image" Target="../media/image9.png"/><Relationship Id="rId2" Type="http://schemas.openxmlformats.org/officeDocument/2006/relationships/tags" Target="../tags/tag661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6.bin"/><Relationship Id="rId4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664.xml"/><Relationship Id="rId7" Type="http://schemas.openxmlformats.org/officeDocument/2006/relationships/image" Target="../media/image10.png"/><Relationship Id="rId2" Type="http://schemas.openxmlformats.org/officeDocument/2006/relationships/tags" Target="../tags/tag66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7.bin"/><Relationship Id="rId4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666.xml"/><Relationship Id="rId2" Type="http://schemas.openxmlformats.org/officeDocument/2006/relationships/tags" Target="../tags/tag665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8.bin"/><Relationship Id="rId4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668.xml"/><Relationship Id="rId2" Type="http://schemas.openxmlformats.org/officeDocument/2006/relationships/tags" Target="../tags/tag667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9.bin"/><Relationship Id="rId4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9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0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671.xml"/><Relationship Id="rId2" Type="http://schemas.openxmlformats.org/officeDocument/2006/relationships/tags" Target="../tags/tag670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1.bin"/><Relationship Id="rId4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2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2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3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3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4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4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5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5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6.xml"/><Relationship Id="rId1" Type="http://schemas.openxmlformats.org/officeDocument/2006/relationships/vmlDrawing" Target="../drawings/vmlDrawing25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6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7.xml"/><Relationship Id="rId1" Type="http://schemas.openxmlformats.org/officeDocument/2006/relationships/vmlDrawing" Target="../drawings/vmlDrawing25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7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679.xml"/><Relationship Id="rId2" Type="http://schemas.openxmlformats.org/officeDocument/2006/relationships/tags" Target="../tags/tag678.xml"/><Relationship Id="rId1" Type="http://schemas.openxmlformats.org/officeDocument/2006/relationships/vmlDrawing" Target="../drawings/vmlDrawing2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8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0.xml"/><Relationship Id="rId1" Type="http://schemas.openxmlformats.org/officeDocument/2006/relationships/vmlDrawing" Target="../drawings/vmlDrawing2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9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1.xml"/><Relationship Id="rId1" Type="http://schemas.openxmlformats.org/officeDocument/2006/relationships/vmlDrawing" Target="../drawings/vmlDrawing2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0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1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684.xml"/><Relationship Id="rId2" Type="http://schemas.openxmlformats.org/officeDocument/2006/relationships/tags" Target="../tags/tag683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2.bin"/><Relationship Id="rId4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5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3.bin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2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4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7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5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6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690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57.bin"/><Relationship Id="rId4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692.xml"/><Relationship Id="rId7" Type="http://schemas.openxmlformats.org/officeDocument/2006/relationships/image" Target="../media/image10.png"/><Relationship Id="rId2" Type="http://schemas.openxmlformats.org/officeDocument/2006/relationships/tags" Target="../tags/tag691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8" Type="http://schemas.openxmlformats.org/officeDocument/2006/relationships/tags" Target="../tags/tag699.xml"/><Relationship Id="rId3" Type="http://schemas.openxmlformats.org/officeDocument/2006/relationships/tags" Target="../tags/tag694.xml"/><Relationship Id="rId7" Type="http://schemas.openxmlformats.org/officeDocument/2006/relationships/tags" Target="../tags/tag698.xml"/><Relationship Id="rId2" Type="http://schemas.openxmlformats.org/officeDocument/2006/relationships/tags" Target="../tags/tag693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697.xml"/><Relationship Id="rId11" Type="http://schemas.openxmlformats.org/officeDocument/2006/relationships/image" Target="../media/image14.emf"/><Relationship Id="rId5" Type="http://schemas.openxmlformats.org/officeDocument/2006/relationships/tags" Target="../tags/tag696.xml"/><Relationship Id="rId10" Type="http://schemas.openxmlformats.org/officeDocument/2006/relationships/oleObject" Target="../embeddings/oleObject258.bin"/><Relationship Id="rId4" Type="http://schemas.openxmlformats.org/officeDocument/2006/relationships/tags" Target="../tags/tag695.xml"/><Relationship Id="rId9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701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0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2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1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3.xml"/><Relationship Id="rId1" Type="http://schemas.openxmlformats.org/officeDocument/2006/relationships/vmlDrawing" Target="../drawings/vmlDrawing26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2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4.xml"/><Relationship Id="rId1" Type="http://schemas.openxmlformats.org/officeDocument/2006/relationships/vmlDrawing" Target="../drawings/vmlDrawing26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5.xml"/><Relationship Id="rId1" Type="http://schemas.openxmlformats.org/officeDocument/2006/relationships/vmlDrawing" Target="../drawings/vmlDrawing27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4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6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7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6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8.xml"/><Relationship Id="rId1" Type="http://schemas.openxmlformats.org/officeDocument/2006/relationships/vmlDrawing" Target="../drawings/vmlDrawing27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7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9.xml"/><Relationship Id="rId1" Type="http://schemas.openxmlformats.org/officeDocument/2006/relationships/vmlDrawing" Target="../drawings/vmlDrawing27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8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0.xml"/><Relationship Id="rId1" Type="http://schemas.openxmlformats.org/officeDocument/2006/relationships/vmlDrawing" Target="../drawings/vmlDrawing27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9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1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0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2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1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3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2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4.xml"/><Relationship Id="rId1" Type="http://schemas.openxmlformats.org/officeDocument/2006/relationships/vmlDrawing" Target="../drawings/vmlDrawing279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3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5.xml"/><Relationship Id="rId1" Type="http://schemas.openxmlformats.org/officeDocument/2006/relationships/vmlDrawing" Target="../drawings/vmlDrawing280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4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6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5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4.xml"/><Relationship Id="rId7" Type="http://schemas.openxmlformats.org/officeDocument/2006/relationships/image" Target="../media/image3.emf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7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6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8.xml"/><Relationship Id="rId1" Type="http://schemas.openxmlformats.org/officeDocument/2006/relationships/vmlDrawing" Target="../drawings/vmlDrawing283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7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9.xml"/><Relationship Id="rId1" Type="http://schemas.openxmlformats.org/officeDocument/2006/relationships/vmlDrawing" Target="../drawings/vmlDrawing28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8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0.xml"/><Relationship Id="rId1" Type="http://schemas.openxmlformats.org/officeDocument/2006/relationships/vmlDrawing" Target="../drawings/vmlDrawing28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9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1.xml"/><Relationship Id="rId1" Type="http://schemas.openxmlformats.org/officeDocument/2006/relationships/vmlDrawing" Target="../drawings/vmlDrawing28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0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2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81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3.xml"/><Relationship Id="rId1" Type="http://schemas.openxmlformats.org/officeDocument/2006/relationships/vmlDrawing" Target="../drawings/vmlDrawing28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2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4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3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5.xml"/><Relationship Id="rId1" Type="http://schemas.openxmlformats.org/officeDocument/2006/relationships/vmlDrawing" Target="../drawings/vmlDrawing29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4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6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7.xml"/><Relationship Id="rId1" Type="http://schemas.openxmlformats.org/officeDocument/2006/relationships/vmlDrawing" Target="../drawings/vmlDrawing29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6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8.xml"/><Relationship Id="rId1" Type="http://schemas.openxmlformats.org/officeDocument/2006/relationships/vmlDrawing" Target="../drawings/vmlDrawing29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7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729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8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0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9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0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2.xml"/><Relationship Id="rId1" Type="http://schemas.openxmlformats.org/officeDocument/2006/relationships/vmlDrawing" Target="../drawings/vmlDrawing29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1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3.xml"/><Relationship Id="rId1" Type="http://schemas.openxmlformats.org/officeDocument/2006/relationships/vmlDrawing" Target="../drawings/vmlDrawing29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2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4.xml"/><Relationship Id="rId1" Type="http://schemas.openxmlformats.org/officeDocument/2006/relationships/vmlDrawing" Target="../drawings/vmlDrawing29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3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5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4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7.xml"/><Relationship Id="rId1" Type="http://schemas.openxmlformats.org/officeDocument/2006/relationships/vmlDrawing" Target="../drawings/vmlDrawing30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6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8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7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8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9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1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00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1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3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2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4.xml"/><Relationship Id="rId1" Type="http://schemas.openxmlformats.org/officeDocument/2006/relationships/vmlDrawing" Target="../drawings/vmlDrawing309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3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5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4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6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7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6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8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7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8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9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1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0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1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3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2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3.bin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4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6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7.bin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760.xml"/><Relationship Id="rId2" Type="http://schemas.openxmlformats.org/officeDocument/2006/relationships/tags" Target="../tags/tag759.xml"/><Relationship Id="rId1" Type="http://schemas.openxmlformats.org/officeDocument/2006/relationships/vmlDrawing" Target="../drawings/vmlDrawing3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1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2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3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765.xml"/><Relationship Id="rId2" Type="http://schemas.openxmlformats.org/officeDocument/2006/relationships/tags" Target="../tags/tag764.xml"/><Relationship Id="rId1" Type="http://schemas.openxmlformats.org/officeDocument/2006/relationships/vmlDrawing" Target="../drawings/vmlDrawing3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2.bin"/><Relationship Id="rId4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6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4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8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9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tags" Target="../tags/tag776.xml"/><Relationship Id="rId3" Type="http://schemas.openxmlformats.org/officeDocument/2006/relationships/tags" Target="../tags/tag771.xml"/><Relationship Id="rId7" Type="http://schemas.openxmlformats.org/officeDocument/2006/relationships/tags" Target="../tags/tag775.xml"/><Relationship Id="rId2" Type="http://schemas.openxmlformats.org/officeDocument/2006/relationships/tags" Target="../tags/tag770.xml"/><Relationship Id="rId1" Type="http://schemas.openxmlformats.org/officeDocument/2006/relationships/vmlDrawing" Target="../drawings/vmlDrawing333.vml"/><Relationship Id="rId6" Type="http://schemas.openxmlformats.org/officeDocument/2006/relationships/tags" Target="../tags/tag774.xml"/><Relationship Id="rId11" Type="http://schemas.openxmlformats.org/officeDocument/2006/relationships/image" Target="../media/image14.emf"/><Relationship Id="rId5" Type="http://schemas.openxmlformats.org/officeDocument/2006/relationships/tags" Target="../tags/tag773.xml"/><Relationship Id="rId10" Type="http://schemas.openxmlformats.org/officeDocument/2006/relationships/oleObject" Target="../embeddings/oleObject327.bin"/><Relationship Id="rId4" Type="http://schemas.openxmlformats.org/officeDocument/2006/relationships/tags" Target="../tags/tag772.xml"/><Relationship Id="rId9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8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9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0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0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9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0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9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70.vml"/><Relationship Id="rId6" Type="http://schemas.openxmlformats.org/officeDocument/2006/relationships/tags" Target="../tags/tag123.xml"/><Relationship Id="rId11" Type="http://schemas.openxmlformats.org/officeDocument/2006/relationships/image" Target="../media/image14.emf"/><Relationship Id="rId5" Type="http://schemas.openxmlformats.org/officeDocument/2006/relationships/tags" Target="../tags/tag122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121.xml"/><Relationship Id="rId9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7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72.vml"/><Relationship Id="rId6" Type="http://schemas.openxmlformats.org/officeDocument/2006/relationships/tags" Target="../tags/tag150.xml"/><Relationship Id="rId11" Type="http://schemas.openxmlformats.org/officeDocument/2006/relationships/image" Target="../media/image16.png"/><Relationship Id="rId5" Type="http://schemas.openxmlformats.org/officeDocument/2006/relationships/tags" Target="../tags/tag149.xml"/><Relationship Id="rId10" Type="http://schemas.openxmlformats.org/officeDocument/2006/relationships/image" Target="../media/image15.png"/><Relationship Id="rId4" Type="http://schemas.openxmlformats.org/officeDocument/2006/relationships/tags" Target="../tags/tag148.xml"/><Relationship Id="rId9" Type="http://schemas.openxmlformats.org/officeDocument/2006/relationships/image" Target="../media/image13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152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7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73.vml"/><Relationship Id="rId6" Type="http://schemas.openxmlformats.org/officeDocument/2006/relationships/tags" Target="../tags/tag155.xml"/><Relationship Id="rId11" Type="http://schemas.openxmlformats.org/officeDocument/2006/relationships/image" Target="../media/image16.png"/><Relationship Id="rId5" Type="http://schemas.openxmlformats.org/officeDocument/2006/relationships/tags" Target="../tags/tag154.xml"/><Relationship Id="rId10" Type="http://schemas.openxmlformats.org/officeDocument/2006/relationships/image" Target="../media/image15.png"/><Relationship Id="rId4" Type="http://schemas.openxmlformats.org/officeDocument/2006/relationships/tags" Target="../tags/tag153.xml"/><Relationship Id="rId9" Type="http://schemas.openxmlformats.org/officeDocument/2006/relationships/image" Target="../media/image13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4.vml"/><Relationship Id="rId6" Type="http://schemas.openxmlformats.org/officeDocument/2006/relationships/tags" Target="../tags/tag160.xml"/><Relationship Id="rId11" Type="http://schemas.openxmlformats.org/officeDocument/2006/relationships/image" Target="../media/image14.emf"/><Relationship Id="rId5" Type="http://schemas.openxmlformats.org/officeDocument/2006/relationships/tags" Target="../tags/tag159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158.xml"/><Relationship Id="rId9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75.v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10" Type="http://schemas.openxmlformats.org/officeDocument/2006/relationships/image" Target="../media/image13.emf"/><Relationship Id="rId4" Type="http://schemas.openxmlformats.org/officeDocument/2006/relationships/tags" Target="../tags/tag165.xml"/><Relationship Id="rId9" Type="http://schemas.openxmlformats.org/officeDocument/2006/relationships/oleObject" Target="../embeddings/oleObject74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76.v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image" Target="../media/image13.emf"/><Relationship Id="rId4" Type="http://schemas.openxmlformats.org/officeDocument/2006/relationships/tags" Target="../tags/tag171.xml"/><Relationship Id="rId9" Type="http://schemas.openxmlformats.org/officeDocument/2006/relationships/oleObject" Target="../embeddings/oleObject75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77.v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image" Target="../media/image13.emf"/><Relationship Id="rId4" Type="http://schemas.openxmlformats.org/officeDocument/2006/relationships/tags" Target="../tags/tag177.xml"/><Relationship Id="rId9" Type="http://schemas.openxmlformats.org/officeDocument/2006/relationships/oleObject" Target="../embeddings/oleObject7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78.vml"/><Relationship Id="rId6" Type="http://schemas.openxmlformats.org/officeDocument/2006/relationships/tags" Target="../tags/tag185.xml"/><Relationship Id="rId11" Type="http://schemas.openxmlformats.org/officeDocument/2006/relationships/image" Target="../media/image13.emf"/><Relationship Id="rId5" Type="http://schemas.openxmlformats.org/officeDocument/2006/relationships/tags" Target="../tags/tag184.xml"/><Relationship Id="rId10" Type="http://schemas.openxmlformats.org/officeDocument/2006/relationships/oleObject" Target="../embeddings/oleObject77.bin"/><Relationship Id="rId4" Type="http://schemas.openxmlformats.org/officeDocument/2006/relationships/tags" Target="../tags/tag183.xml"/><Relationship Id="rId9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4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79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78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image" Target="../media/image14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80.vml"/><Relationship Id="rId6" Type="http://schemas.openxmlformats.org/officeDocument/2006/relationships/tags" Target="../tags/tag200.xml"/><Relationship Id="rId11" Type="http://schemas.openxmlformats.org/officeDocument/2006/relationships/oleObject" Target="../embeddings/oleObject79.bin"/><Relationship Id="rId5" Type="http://schemas.openxmlformats.org/officeDocument/2006/relationships/tags" Target="../tags/tag19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8.xml"/><Relationship Id="rId9" Type="http://schemas.openxmlformats.org/officeDocument/2006/relationships/tags" Target="../tags/tag203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14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81.vml"/><Relationship Id="rId6" Type="http://schemas.openxmlformats.org/officeDocument/2006/relationships/tags" Target="../tags/tag208.xml"/><Relationship Id="rId11" Type="http://schemas.openxmlformats.org/officeDocument/2006/relationships/oleObject" Target="../embeddings/oleObject80.bin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image" Target="../media/image18.emf"/><Relationship Id="rId2" Type="http://schemas.openxmlformats.org/officeDocument/2006/relationships/tags" Target="../tags/tag212.xml"/><Relationship Id="rId1" Type="http://schemas.openxmlformats.org/officeDocument/2006/relationships/vmlDrawing" Target="../drawings/vmlDrawing82.vml"/><Relationship Id="rId6" Type="http://schemas.openxmlformats.org/officeDocument/2006/relationships/tags" Target="../tags/tag216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21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4.xml"/><Relationship Id="rId9" Type="http://schemas.openxmlformats.org/officeDocument/2006/relationships/tags" Target="../tags/tag219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image" Target="../media/image14.emf"/><Relationship Id="rId2" Type="http://schemas.openxmlformats.org/officeDocument/2006/relationships/tags" Target="../tags/tag220.xml"/><Relationship Id="rId1" Type="http://schemas.openxmlformats.org/officeDocument/2006/relationships/vmlDrawing" Target="../drawings/vmlDrawing83.vml"/><Relationship Id="rId6" Type="http://schemas.openxmlformats.org/officeDocument/2006/relationships/tags" Target="../tags/tag224.xml"/><Relationship Id="rId11" Type="http://schemas.openxmlformats.org/officeDocument/2006/relationships/oleObject" Target="../embeddings/oleObject82.bin"/><Relationship Id="rId5" Type="http://schemas.openxmlformats.org/officeDocument/2006/relationships/tags" Target="../tags/tag22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84.vml"/><Relationship Id="rId6" Type="http://schemas.openxmlformats.org/officeDocument/2006/relationships/tags" Target="../tags/tag232.xml"/><Relationship Id="rId5" Type="http://schemas.openxmlformats.org/officeDocument/2006/relationships/tags" Target="../tags/tag231.xml"/><Relationship Id="rId10" Type="http://schemas.openxmlformats.org/officeDocument/2006/relationships/image" Target="../media/image13.emf"/><Relationship Id="rId4" Type="http://schemas.openxmlformats.org/officeDocument/2006/relationships/tags" Target="../tags/tag230.xml"/><Relationship Id="rId9" Type="http://schemas.openxmlformats.org/officeDocument/2006/relationships/oleObject" Target="../embeddings/oleObject83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235.xml"/><Relationship Id="rId7" Type="http://schemas.openxmlformats.org/officeDocument/2006/relationships/oleObject" Target="../embeddings/oleObject84.bin"/><Relationship Id="rId2" Type="http://schemas.openxmlformats.org/officeDocument/2006/relationships/tags" Target="../tags/tag234.xml"/><Relationship Id="rId1" Type="http://schemas.openxmlformats.org/officeDocument/2006/relationships/vmlDrawing" Target="../drawings/vmlDrawing8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7.xml"/><Relationship Id="rId4" Type="http://schemas.openxmlformats.org/officeDocument/2006/relationships/tags" Target="../tags/tag23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39.xml"/><Relationship Id="rId7" Type="http://schemas.openxmlformats.org/officeDocument/2006/relationships/image" Target="../media/image19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1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87.vml"/><Relationship Id="rId6" Type="http://schemas.openxmlformats.org/officeDocument/2006/relationships/tags" Target="../tags/tag244.xml"/><Relationship Id="rId11" Type="http://schemas.openxmlformats.org/officeDocument/2006/relationships/image" Target="../media/image13.emf"/><Relationship Id="rId5" Type="http://schemas.openxmlformats.org/officeDocument/2006/relationships/tags" Target="../tags/tag243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242.xml"/><Relationship Id="rId9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8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E06B387-453E-41B1-AF78-A5B50AEC8B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35" name="Picture 34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6" name="Freeform 35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4454048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5323725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8699" y="733510"/>
            <a:ext cx="3751126" cy="116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Connector 44"/>
          <p:cNvCxnSpPr>
            <a:cxnSpLocks/>
          </p:cNvCxnSpPr>
          <p:nvPr userDrawn="1"/>
        </p:nvCxnSpPr>
        <p:spPr>
          <a:xfrm flipH="1">
            <a:off x="4107094" y="5227439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  <p:pic>
        <p:nvPicPr>
          <p:cNvPr id="71685" name="Picture 5" descr="UNICEF logo and symbol, meaning, history, PNG">
            <a:extLst>
              <a:ext uri="{FF2B5EF4-FFF2-40B4-BE49-F238E27FC236}">
                <a16:creationId xmlns:a16="http://schemas.microsoft.com/office/drawing/2014/main" id="{8BD6AEBA-78F1-4176-87DC-31E0EFBADB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0932" y="1288054"/>
            <a:ext cx="3469820" cy="121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9" name="Picture 9" descr="Gavi-logo - The Rockefeller Foundation">
            <a:extLst>
              <a:ext uri="{FF2B5EF4-FFF2-40B4-BE49-F238E27FC236}">
                <a16:creationId xmlns:a16="http://schemas.microsoft.com/office/drawing/2014/main" id="{0B8A51C6-0E3C-44B6-ABB0-40D445C3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248" y="2256405"/>
            <a:ext cx="3300011" cy="123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903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2A932-890E-46EC-9EF7-AD3F8BA39E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9038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101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066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756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759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9456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441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777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</a:t>
            </a:r>
            <a:r>
              <a:rPr lang="en-US" dirty="0" err="1"/>
              <a:t>wy</a:t>
            </a:r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267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687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76183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B8BC47-041A-4751-941A-C941934642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785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309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2020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46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93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59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6322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8795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02142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523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6E6F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319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E322802-4AC0-42E6-A685-79504F50E2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01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581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0640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6155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12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706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6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19" name="Freeform 18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Working Draft Text"/>
            <p:cNvSpPr txBox="1">
              <a:spLocks noChangeArrowheads="1"/>
            </p:cNvSpPr>
            <p:nvPr userDrawn="1"/>
          </p:nvSpPr>
          <p:spPr bwMode="black">
            <a:xfrm>
              <a:off x="102735" y="400957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800" b="1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WORKING DRAFT</a:t>
              </a:r>
            </a:p>
          </p:txBody>
        </p:sp>
        <p:sp>
          <p:nvSpPr>
            <p:cNvPr id="28" name="Working Draft"/>
            <p:cNvSpPr txBox="1">
              <a:spLocks noChangeArrowheads="1"/>
            </p:cNvSpPr>
            <p:nvPr userDrawn="1"/>
          </p:nvSpPr>
          <p:spPr bwMode="black">
            <a:xfrm>
              <a:off x="102735" y="526567"/>
              <a:ext cx="248286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Last Modified 8/22/2018 2:01 AM India Standard Time</a:t>
              </a:r>
              <a:endParaRPr lang="en-GB" sz="800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9" name="Printed"/>
            <p:cNvSpPr txBox="1">
              <a:spLocks noChangeArrowheads="1"/>
            </p:cNvSpPr>
            <p:nvPr userDrawn="1"/>
          </p:nvSpPr>
          <p:spPr bwMode="black">
            <a:xfrm>
              <a:off x="102735" y="652179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Printed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32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35922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433" descr="Image result for who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3165" y="6301171"/>
            <a:ext cx="901060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409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234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234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467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2F71FE6-85A3-4911-90C9-5C0550F455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712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0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7185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565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693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263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811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963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316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3647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67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6349C-BFE1-4B78-8A22-38DBB1A761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0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947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3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891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68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1941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9282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3195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561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6E6F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178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684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0B6F1-9BF7-49C1-BFDC-6F3BFD96B5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0907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581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92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795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680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274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4246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179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21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225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8054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22A85B-4EAC-4944-A5FC-148ECB93AB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870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223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75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3378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40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326D2-D3FA-2D41-97EE-8F342E3C62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0"/>
            <a:ext cx="9803296" cy="1646238"/>
          </a:xfrm>
          <a:solidFill>
            <a:schemeClr val="accent4">
              <a:lumMod val="20000"/>
              <a:lumOff val="80000"/>
              <a:alpha val="50000"/>
            </a:schemeClr>
          </a:solidFill>
        </p:spPr>
        <p:txBody>
          <a:bodyPr>
            <a:normAutofit/>
          </a:bodyPr>
          <a:lstStyle>
            <a:lvl1pPr>
              <a:defRPr sz="2800" b="1" spc="-100" baseline="0">
                <a:latin typeface="Helvetica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  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A101E-8DD9-8E4A-98AA-0D02553C98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Helvetica" pitchFamily="2" charset="0"/>
              </a:defRPr>
            </a:lvl1pPr>
            <a:lvl2pPr>
              <a:defRPr sz="1800">
                <a:latin typeface="Helvetica" pitchFamily="2" charset="0"/>
              </a:defRPr>
            </a:lvl2pPr>
            <a:lvl3pPr>
              <a:defRPr sz="1600">
                <a:latin typeface="Helvetica" pitchFamily="2" charset="0"/>
              </a:defRPr>
            </a:lvl3pPr>
            <a:lvl4pPr>
              <a:defRPr sz="1400">
                <a:latin typeface="Helvetica" pitchFamily="2" charset="0"/>
              </a:defRPr>
            </a:lvl4pPr>
            <a:lvl5pPr>
              <a:defRPr sz="1400">
                <a:latin typeface="Helvetica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0295AB-DA28-4642-81A0-9970529793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Helvetica" pitchFamily="2" charset="0"/>
              </a:defRPr>
            </a:lvl1pPr>
            <a:lvl2pPr>
              <a:defRPr sz="1800">
                <a:latin typeface="Helvetica" pitchFamily="2" charset="0"/>
              </a:defRPr>
            </a:lvl2pPr>
            <a:lvl3pPr>
              <a:defRPr sz="1600">
                <a:latin typeface="Helvetica" pitchFamily="2" charset="0"/>
              </a:defRPr>
            </a:lvl3pPr>
            <a:lvl4pPr>
              <a:defRPr sz="1400">
                <a:latin typeface="Helvetica" pitchFamily="2" charset="0"/>
              </a:defRPr>
            </a:lvl4pPr>
            <a:lvl5pPr>
              <a:defRPr sz="1400">
                <a:latin typeface="Helvetica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284D6D-031C-8B4D-8B0D-24E904B16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841E9F-BC35-4049-B5F7-1EC7E3F08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77B4C-482E-144A-81B7-365579AA4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BDB0-8DC3-4D4B-8D54-7E8DDF3FA9E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7244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2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CCCD4C1-A8D4-4215-9B65-238A6E454EC9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61073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4771973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83074-8B00-4D0E-B348-E71ED958E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775526-7D3E-40E4-AB96-568E0C62CB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BAB632-7548-4A08-A411-B798CA1CC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308F1-006E-41DB-96CA-6B310847D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DCD960-A866-45BC-A038-B1AD02C81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3FF5-EC98-4436-B06A-5C7CB1ED8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54220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;p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5EE9726-ABDB-4430-AF6D-7D9FBF9B3533}" type="slidenum">
              <a:rPr/>
              <a:t>‹#›</a:t>
            </a:fld>
            <a:endParaRPr lang="en-US"/>
          </a:p>
        </p:txBody>
      </p:sp>
      <p:sp>
        <p:nvSpPr>
          <p:cNvPr id="3" name="Google Shape;29;p3"/>
          <p:cNvSpPr txBox="1">
            <a:spLocks noGrp="1"/>
          </p:cNvSpPr>
          <p:nvPr>
            <p:ph type="body" idx="4294967295"/>
          </p:nvPr>
        </p:nvSpPr>
        <p:spPr>
          <a:xfrm>
            <a:off x="479995" y="6293650"/>
            <a:ext cx="11226363" cy="208574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/>
          </a:p>
        </p:txBody>
      </p:sp>
      <p:sp>
        <p:nvSpPr>
          <p:cNvPr id="4" name="Google Shape;30;p3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6727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2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27FBC14-72DC-4109-B1FE-500CF7DD36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6C50E687-96DD-427B-A638-1BD666ADFFF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pic>
        <p:nvPicPr>
          <p:cNvPr id="18" name="Picture 19" descr="Gavi-logo - The Rockefeller Foundation">
            <a:extLst>
              <a:ext uri="{FF2B5EF4-FFF2-40B4-BE49-F238E27FC236}">
                <a16:creationId xmlns:a16="http://schemas.microsoft.com/office/drawing/2014/main" id="{E161BC66-4FBB-458B-B868-9798D23D36B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792"/>
          <a:stretch/>
        </p:blipFill>
        <p:spPr bwMode="ltGray">
          <a:xfrm>
            <a:off x="2594762" y="684581"/>
            <a:ext cx="970763" cy="59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World Health Organization (WHO) – Logos Download">
            <a:extLst>
              <a:ext uri="{FF2B5EF4-FFF2-40B4-BE49-F238E27FC236}">
                <a16:creationId xmlns:a16="http://schemas.microsoft.com/office/drawing/2014/main" id="{9F64F0FF-409E-4C66-B569-FCCCA039E7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768936" y="651284"/>
            <a:ext cx="2241464" cy="661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125E4CD0-B818-4C36-B201-E0BD262A03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2" y="764281"/>
            <a:ext cx="1480798" cy="435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B2DCA1FF-D43A-41E5-9677-A2EC85C3BF0A}"/>
              </a:ext>
            </a:extLst>
          </p:cNvPr>
          <p:cNvSpPr/>
          <p:nvPr userDrawn="1"/>
        </p:nvSpPr>
        <p:spPr bwMode="ltGray">
          <a:xfrm flipH="1" flipV="1">
            <a:off x="7366000" y="0"/>
            <a:ext cx="4826000" cy="4826000"/>
          </a:xfrm>
          <a:prstGeom prst="rtTriangle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66F3D9F6-C837-44E3-AE84-D24634D3E30C}"/>
              </a:ext>
            </a:extLst>
          </p:cNvPr>
          <p:cNvSpPr/>
          <p:nvPr userDrawn="1"/>
        </p:nvSpPr>
        <p:spPr bwMode="ltGray">
          <a:xfrm flipH="1" flipV="1">
            <a:off x="7532005" y="0"/>
            <a:ext cx="4659995" cy="4659995"/>
          </a:xfrm>
          <a:prstGeom prst="rtTriangle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Right Triangle 22">
            <a:extLst>
              <a:ext uri="{FF2B5EF4-FFF2-40B4-BE49-F238E27FC236}">
                <a16:creationId xmlns:a16="http://schemas.microsoft.com/office/drawing/2014/main" id="{31729851-AF18-4A18-B782-52D68F09C481}"/>
              </a:ext>
            </a:extLst>
          </p:cNvPr>
          <p:cNvSpPr/>
          <p:nvPr userDrawn="1"/>
        </p:nvSpPr>
        <p:spPr bwMode="ltGray">
          <a:xfrm>
            <a:off x="0" y="5003800"/>
            <a:ext cx="1854200" cy="1854200"/>
          </a:xfrm>
          <a:prstGeom prst="rtTriangle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4" name="Picture 19" descr="Gavi-logo - The Rockefeller Foundation">
            <a:extLst>
              <a:ext uri="{FF2B5EF4-FFF2-40B4-BE49-F238E27FC236}">
                <a16:creationId xmlns:a16="http://schemas.microsoft.com/office/drawing/2014/main" id="{362DAEEB-FE54-4275-9AE2-F5A862CA4C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08"/>
          <a:stretch/>
        </p:blipFill>
        <p:spPr bwMode="ltGray">
          <a:xfrm>
            <a:off x="3565525" y="684581"/>
            <a:ext cx="615250" cy="59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Documenttype">
            <a:extLst>
              <a:ext uri="{FF2B5EF4-FFF2-40B4-BE49-F238E27FC236}">
                <a16:creationId xmlns:a16="http://schemas.microsoft.com/office/drawing/2014/main" id="{A2A42BA1-B23C-4DD6-BE7C-04681C9D11F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1" y="4648511"/>
            <a:ext cx="81779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45330571-F6C4-47D5-B225-C19043B311D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1" y="4150556"/>
            <a:ext cx="81779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id="{07BB41B6-AE68-4889-B5C2-4A5DD4D7F39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1" y="2113720"/>
            <a:ext cx="8177931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91933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62FE4F-21CA-4B83-8C04-0FB77B9045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4443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27FBC14-72DC-4109-B1FE-500CF7DD36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6" name="Rectangle 1">
            <a:extLst>
              <a:ext uri="{FF2B5EF4-FFF2-40B4-BE49-F238E27FC236}">
                <a16:creationId xmlns:a16="http://schemas.microsoft.com/office/drawing/2014/main" id="{94DF31DE-F1E4-4F2E-97D8-6B4AD916ADA7}"/>
              </a:ext>
            </a:extLst>
          </p:cNvPr>
          <p:cNvGrpSpPr/>
          <p:nvPr userDrawn="1"/>
        </p:nvGrpSpPr>
        <p:grpSpPr bwMode="lt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7" name="Rectangle 1">
              <a:extLst>
                <a:ext uri="{FF2B5EF4-FFF2-40B4-BE49-F238E27FC236}">
                  <a16:creationId xmlns:a16="http://schemas.microsoft.com/office/drawing/2014/main" id="{F2D3B4A2-0A0E-4A6A-A878-1624C4666D5A}"/>
                </a:ext>
              </a:extLst>
            </p:cNvPr>
            <p:cNvSpPr/>
            <p:nvPr/>
          </p:nvSpPr>
          <p:spPr bwMode="ltGray">
            <a:xfrm>
              <a:off x="0" y="0"/>
              <a:ext cx="12192000" cy="6858000"/>
            </a:xfrm>
            <a:prstGeom prst="rect">
              <a:avLst/>
            </a:prstGeom>
            <a:solidFill>
              <a:srgbClr val="4D4D4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B17E30B-DED4-4D4B-8273-25B3E7A1CB98}"/>
                </a:ext>
              </a:extLst>
            </p:cNvPr>
            <p:cNvSpPr/>
            <p:nvPr/>
          </p:nvSpPr>
          <p:spPr bwMode="ltGray">
            <a:xfrm flipH="1">
              <a:off x="328939" y="0"/>
              <a:ext cx="11863054" cy="6858000"/>
            </a:xfrm>
            <a:custGeom>
              <a:avLst/>
              <a:gdLst>
                <a:gd name="connsiteX0" fmla="*/ 2186275 w 11863054"/>
                <a:gd name="connsiteY0" fmla="*/ 4880651 h 6858000"/>
                <a:gd name="connsiteX1" fmla="*/ 2466727 w 11863054"/>
                <a:gd name="connsiteY1" fmla="*/ 5366539 h 6858000"/>
                <a:gd name="connsiteX2" fmla="*/ 2186109 w 11863054"/>
                <a:gd name="connsiteY2" fmla="*/ 5852538 h 6858000"/>
                <a:gd name="connsiteX3" fmla="*/ 1624817 w 11863054"/>
                <a:gd name="connsiteY3" fmla="*/ 5852538 h 6858000"/>
                <a:gd name="connsiteX4" fmla="*/ 1344198 w 11863054"/>
                <a:gd name="connsiteY4" fmla="*/ 5366539 h 6858000"/>
                <a:gd name="connsiteX5" fmla="*/ 1624650 w 11863054"/>
                <a:gd name="connsiteY5" fmla="*/ 4880651 h 6858000"/>
                <a:gd name="connsiteX6" fmla="*/ 2185887 w 11863054"/>
                <a:gd name="connsiteY6" fmla="*/ 3891755 h 6858000"/>
                <a:gd name="connsiteX7" fmla="*/ 2466505 w 11863054"/>
                <a:gd name="connsiteY7" fmla="*/ 4377921 h 6858000"/>
                <a:gd name="connsiteX8" fmla="*/ 2186053 w 11863054"/>
                <a:gd name="connsiteY8" fmla="*/ 4863753 h 6858000"/>
                <a:gd name="connsiteX9" fmla="*/ 1624539 w 11863054"/>
                <a:gd name="connsiteY9" fmla="*/ 4863753 h 6858000"/>
                <a:gd name="connsiteX10" fmla="*/ 1343977 w 11863054"/>
                <a:gd name="connsiteY10" fmla="*/ 4377921 h 6858000"/>
                <a:gd name="connsiteX11" fmla="*/ 1624650 w 11863054"/>
                <a:gd name="connsiteY11" fmla="*/ 3891755 h 6858000"/>
                <a:gd name="connsiteX12" fmla="*/ 3898518 w 11863054"/>
                <a:gd name="connsiteY12" fmla="*/ 3891700 h 6858000"/>
                <a:gd name="connsiteX13" fmla="*/ 4179137 w 11863054"/>
                <a:gd name="connsiteY13" fmla="*/ 4377644 h 6858000"/>
                <a:gd name="connsiteX14" fmla="*/ 3898518 w 11863054"/>
                <a:gd name="connsiteY14" fmla="*/ 4863642 h 6858000"/>
                <a:gd name="connsiteX15" fmla="*/ 3337226 w 11863054"/>
                <a:gd name="connsiteY15" fmla="*/ 4863642 h 6858000"/>
                <a:gd name="connsiteX16" fmla="*/ 3056718 w 11863054"/>
                <a:gd name="connsiteY16" fmla="*/ 4377644 h 6858000"/>
                <a:gd name="connsiteX17" fmla="*/ 3337337 w 11863054"/>
                <a:gd name="connsiteY17" fmla="*/ 3891700 h 6858000"/>
                <a:gd name="connsiteX18" fmla="*/ 4755000 w 11863054"/>
                <a:gd name="connsiteY18" fmla="*/ 3397502 h 6858000"/>
                <a:gd name="connsiteX19" fmla="*/ 5035508 w 11863054"/>
                <a:gd name="connsiteY19" fmla="*/ 3883389 h 6858000"/>
                <a:gd name="connsiteX20" fmla="*/ 4754778 w 11863054"/>
                <a:gd name="connsiteY20" fmla="*/ 4369444 h 6858000"/>
                <a:gd name="connsiteX21" fmla="*/ 4193652 w 11863054"/>
                <a:gd name="connsiteY21" fmla="*/ 4369444 h 6858000"/>
                <a:gd name="connsiteX22" fmla="*/ 3912978 w 11863054"/>
                <a:gd name="connsiteY22" fmla="*/ 3883223 h 6858000"/>
                <a:gd name="connsiteX23" fmla="*/ 4193541 w 11863054"/>
                <a:gd name="connsiteY23" fmla="*/ 3397502 h 6858000"/>
                <a:gd name="connsiteX24" fmla="*/ 3042147 w 11863054"/>
                <a:gd name="connsiteY24" fmla="*/ 3397391 h 6858000"/>
                <a:gd name="connsiteX25" fmla="*/ 3322710 w 11863054"/>
                <a:gd name="connsiteY25" fmla="*/ 3883389 h 6858000"/>
                <a:gd name="connsiteX26" fmla="*/ 3042147 w 11863054"/>
                <a:gd name="connsiteY26" fmla="*/ 4369444 h 6858000"/>
                <a:gd name="connsiteX27" fmla="*/ 2480966 w 11863054"/>
                <a:gd name="connsiteY27" fmla="*/ 4369444 h 6858000"/>
                <a:gd name="connsiteX28" fmla="*/ 2200292 w 11863054"/>
                <a:gd name="connsiteY28" fmla="*/ 3883389 h 6858000"/>
                <a:gd name="connsiteX29" fmla="*/ 2480911 w 11863054"/>
                <a:gd name="connsiteY29" fmla="*/ 3397391 h 6858000"/>
                <a:gd name="connsiteX30" fmla="*/ 3898186 w 11863054"/>
                <a:gd name="connsiteY30" fmla="*/ 2902970 h 6858000"/>
                <a:gd name="connsiteX31" fmla="*/ 4178860 w 11863054"/>
                <a:gd name="connsiteY31" fmla="*/ 3389136 h 6858000"/>
                <a:gd name="connsiteX32" fmla="*/ 3898463 w 11863054"/>
                <a:gd name="connsiteY32" fmla="*/ 3874857 h 6858000"/>
                <a:gd name="connsiteX33" fmla="*/ 3337115 w 11863054"/>
                <a:gd name="connsiteY33" fmla="*/ 3874857 h 6858000"/>
                <a:gd name="connsiteX34" fmla="*/ 3056607 w 11863054"/>
                <a:gd name="connsiteY34" fmla="*/ 3388969 h 6858000"/>
                <a:gd name="connsiteX35" fmla="*/ 3337115 w 11863054"/>
                <a:gd name="connsiteY35" fmla="*/ 2902970 h 6858000"/>
                <a:gd name="connsiteX36" fmla="*/ 5611205 w 11863054"/>
                <a:gd name="connsiteY36" fmla="*/ 2902915 h 6858000"/>
                <a:gd name="connsiteX37" fmla="*/ 5891712 w 11863054"/>
                <a:gd name="connsiteY37" fmla="*/ 3388748 h 6858000"/>
                <a:gd name="connsiteX38" fmla="*/ 5611149 w 11863054"/>
                <a:gd name="connsiteY38" fmla="*/ 3874857 h 6858000"/>
                <a:gd name="connsiteX39" fmla="*/ 5049857 w 11863054"/>
                <a:gd name="connsiteY39" fmla="*/ 3874857 h 6858000"/>
                <a:gd name="connsiteX40" fmla="*/ 4769239 w 11863054"/>
                <a:gd name="connsiteY40" fmla="*/ 3388969 h 6858000"/>
                <a:gd name="connsiteX41" fmla="*/ 5049857 w 11863054"/>
                <a:gd name="connsiteY41" fmla="*/ 2902915 h 6858000"/>
                <a:gd name="connsiteX42" fmla="*/ 1329350 w 11863054"/>
                <a:gd name="connsiteY42" fmla="*/ 2409215 h 6858000"/>
                <a:gd name="connsiteX43" fmla="*/ 1609968 w 11863054"/>
                <a:gd name="connsiteY43" fmla="*/ 2895269 h 6858000"/>
                <a:gd name="connsiteX44" fmla="*/ 1329350 w 11863054"/>
                <a:gd name="connsiteY44" fmla="*/ 3381379 h 6858000"/>
                <a:gd name="connsiteX45" fmla="*/ 768224 w 11863054"/>
                <a:gd name="connsiteY45" fmla="*/ 3381379 h 6858000"/>
                <a:gd name="connsiteX46" fmla="*/ 487716 w 11863054"/>
                <a:gd name="connsiteY46" fmla="*/ 2895546 h 6858000"/>
                <a:gd name="connsiteX47" fmla="*/ 768501 w 11863054"/>
                <a:gd name="connsiteY47" fmla="*/ 2409215 h 6858000"/>
                <a:gd name="connsiteX48" fmla="*/ 3041981 w 11863054"/>
                <a:gd name="connsiteY48" fmla="*/ 2408883 h 6858000"/>
                <a:gd name="connsiteX49" fmla="*/ 3322599 w 11863054"/>
                <a:gd name="connsiteY49" fmla="*/ 2894826 h 6858000"/>
                <a:gd name="connsiteX50" fmla="*/ 3042092 w 11863054"/>
                <a:gd name="connsiteY50" fmla="*/ 3380714 h 6858000"/>
                <a:gd name="connsiteX51" fmla="*/ 2480855 w 11863054"/>
                <a:gd name="connsiteY51" fmla="*/ 3380714 h 6858000"/>
                <a:gd name="connsiteX52" fmla="*/ 2200126 w 11863054"/>
                <a:gd name="connsiteY52" fmla="*/ 2894715 h 6858000"/>
                <a:gd name="connsiteX53" fmla="*/ 2480689 w 11863054"/>
                <a:gd name="connsiteY53" fmla="*/ 2408883 h 6858000"/>
                <a:gd name="connsiteX54" fmla="*/ 4754612 w 11863054"/>
                <a:gd name="connsiteY54" fmla="*/ 2408827 h 6858000"/>
                <a:gd name="connsiteX55" fmla="*/ 5035231 w 11863054"/>
                <a:gd name="connsiteY55" fmla="*/ 2894715 h 6858000"/>
                <a:gd name="connsiteX56" fmla="*/ 4754612 w 11863054"/>
                <a:gd name="connsiteY56" fmla="*/ 3380714 h 6858000"/>
                <a:gd name="connsiteX57" fmla="*/ 4193375 w 11863054"/>
                <a:gd name="connsiteY57" fmla="*/ 3380714 h 6858000"/>
                <a:gd name="connsiteX58" fmla="*/ 3912757 w 11863054"/>
                <a:gd name="connsiteY58" fmla="*/ 2894715 h 6858000"/>
                <a:gd name="connsiteX59" fmla="*/ 4193320 w 11863054"/>
                <a:gd name="connsiteY59" fmla="*/ 2408827 h 6858000"/>
                <a:gd name="connsiteX60" fmla="*/ 6467576 w 11863054"/>
                <a:gd name="connsiteY60" fmla="*/ 2408384 h 6858000"/>
                <a:gd name="connsiteX61" fmla="*/ 6748083 w 11863054"/>
                <a:gd name="connsiteY61" fmla="*/ 2894217 h 6858000"/>
                <a:gd name="connsiteX62" fmla="*/ 6467409 w 11863054"/>
                <a:gd name="connsiteY62" fmla="*/ 3380326 h 6858000"/>
                <a:gd name="connsiteX63" fmla="*/ 5906173 w 11863054"/>
                <a:gd name="connsiteY63" fmla="*/ 3380326 h 6858000"/>
                <a:gd name="connsiteX64" fmla="*/ 5625554 w 11863054"/>
                <a:gd name="connsiteY64" fmla="*/ 2894272 h 6858000"/>
                <a:gd name="connsiteX65" fmla="*/ 5906006 w 11863054"/>
                <a:gd name="connsiteY65" fmla="*/ 2408384 h 6858000"/>
                <a:gd name="connsiteX66" fmla="*/ 2185610 w 11863054"/>
                <a:gd name="connsiteY66" fmla="*/ 1914628 h 6858000"/>
                <a:gd name="connsiteX67" fmla="*/ 2466229 w 11863054"/>
                <a:gd name="connsiteY67" fmla="*/ 2400572 h 6858000"/>
                <a:gd name="connsiteX68" fmla="*/ 2423402 w 11863054"/>
                <a:gd name="connsiteY68" fmla="*/ 2474702 h 6858000"/>
                <a:gd name="connsiteX69" fmla="*/ 2185555 w 11863054"/>
                <a:gd name="connsiteY69" fmla="*/ 2886737 h 6858000"/>
                <a:gd name="connsiteX70" fmla="*/ 1624318 w 11863054"/>
                <a:gd name="connsiteY70" fmla="*/ 2886737 h 6858000"/>
                <a:gd name="connsiteX71" fmla="*/ 1344087 w 11863054"/>
                <a:gd name="connsiteY71" fmla="*/ 2401292 h 6858000"/>
                <a:gd name="connsiteX72" fmla="*/ 1625093 w 11863054"/>
                <a:gd name="connsiteY72" fmla="*/ 1914628 h 6858000"/>
                <a:gd name="connsiteX73" fmla="*/ 3898186 w 11863054"/>
                <a:gd name="connsiteY73" fmla="*/ 1914462 h 6858000"/>
                <a:gd name="connsiteX74" fmla="*/ 4178804 w 11863054"/>
                <a:gd name="connsiteY74" fmla="*/ 2400461 h 6858000"/>
                <a:gd name="connsiteX75" fmla="*/ 3898241 w 11863054"/>
                <a:gd name="connsiteY75" fmla="*/ 2886349 h 6858000"/>
                <a:gd name="connsiteX76" fmla="*/ 3337115 w 11863054"/>
                <a:gd name="connsiteY76" fmla="*/ 2886349 h 6858000"/>
                <a:gd name="connsiteX77" fmla="*/ 3056441 w 11863054"/>
                <a:gd name="connsiteY77" fmla="*/ 2400295 h 6858000"/>
                <a:gd name="connsiteX78" fmla="*/ 3336949 w 11863054"/>
                <a:gd name="connsiteY78" fmla="*/ 1914462 h 6858000"/>
                <a:gd name="connsiteX79" fmla="*/ 5610872 w 11863054"/>
                <a:gd name="connsiteY79" fmla="*/ 1914185 h 6858000"/>
                <a:gd name="connsiteX80" fmla="*/ 5891491 w 11863054"/>
                <a:gd name="connsiteY80" fmla="*/ 2400240 h 6858000"/>
                <a:gd name="connsiteX81" fmla="*/ 5610983 w 11863054"/>
                <a:gd name="connsiteY81" fmla="*/ 2886072 h 6858000"/>
                <a:gd name="connsiteX82" fmla="*/ 5049469 w 11863054"/>
                <a:gd name="connsiteY82" fmla="*/ 2886072 h 6858000"/>
                <a:gd name="connsiteX83" fmla="*/ 4768962 w 11863054"/>
                <a:gd name="connsiteY83" fmla="*/ 2400295 h 6858000"/>
                <a:gd name="connsiteX84" fmla="*/ 5049635 w 11863054"/>
                <a:gd name="connsiteY84" fmla="*/ 1914185 h 6858000"/>
                <a:gd name="connsiteX85" fmla="*/ 7323669 w 11863054"/>
                <a:gd name="connsiteY85" fmla="*/ 1913853 h 6858000"/>
                <a:gd name="connsiteX86" fmla="*/ 7604232 w 11863054"/>
                <a:gd name="connsiteY86" fmla="*/ 2399852 h 6858000"/>
                <a:gd name="connsiteX87" fmla="*/ 7323669 w 11863054"/>
                <a:gd name="connsiteY87" fmla="*/ 2885740 h 6858000"/>
                <a:gd name="connsiteX88" fmla="*/ 6762377 w 11863054"/>
                <a:gd name="connsiteY88" fmla="*/ 2885740 h 6858000"/>
                <a:gd name="connsiteX89" fmla="*/ 6481870 w 11863054"/>
                <a:gd name="connsiteY89" fmla="*/ 2399741 h 6858000"/>
                <a:gd name="connsiteX90" fmla="*/ 6762322 w 11863054"/>
                <a:gd name="connsiteY90" fmla="*/ 1913853 h 6858000"/>
                <a:gd name="connsiteX91" fmla="*/ 1330015 w 11863054"/>
                <a:gd name="connsiteY91" fmla="*/ 1420652 h 6858000"/>
                <a:gd name="connsiteX92" fmla="*/ 1610135 w 11863054"/>
                <a:gd name="connsiteY92" fmla="*/ 1905930 h 6858000"/>
                <a:gd name="connsiteX93" fmla="*/ 1329073 w 11863054"/>
                <a:gd name="connsiteY93" fmla="*/ 2392594 h 6858000"/>
                <a:gd name="connsiteX94" fmla="*/ 768723 w 11863054"/>
                <a:gd name="connsiteY94" fmla="*/ 2392594 h 6858000"/>
                <a:gd name="connsiteX95" fmla="*/ 487993 w 11863054"/>
                <a:gd name="connsiteY95" fmla="*/ 1906429 h 6858000"/>
                <a:gd name="connsiteX96" fmla="*/ 768446 w 11863054"/>
                <a:gd name="connsiteY96" fmla="*/ 1420652 h 6858000"/>
                <a:gd name="connsiteX97" fmla="*/ 4754612 w 11863054"/>
                <a:gd name="connsiteY97" fmla="*/ 1420208 h 6858000"/>
                <a:gd name="connsiteX98" fmla="*/ 5035175 w 11863054"/>
                <a:gd name="connsiteY98" fmla="*/ 1906096 h 6858000"/>
                <a:gd name="connsiteX99" fmla="*/ 4754391 w 11863054"/>
                <a:gd name="connsiteY99" fmla="*/ 2392151 h 6858000"/>
                <a:gd name="connsiteX100" fmla="*/ 4193375 w 11863054"/>
                <a:gd name="connsiteY100" fmla="*/ 2392151 h 6858000"/>
                <a:gd name="connsiteX101" fmla="*/ 3912646 w 11863054"/>
                <a:gd name="connsiteY101" fmla="*/ 1905986 h 6858000"/>
                <a:gd name="connsiteX102" fmla="*/ 4193098 w 11863054"/>
                <a:gd name="connsiteY102" fmla="*/ 1420208 h 6858000"/>
                <a:gd name="connsiteX103" fmla="*/ 3041704 w 11863054"/>
                <a:gd name="connsiteY103" fmla="*/ 1420097 h 6858000"/>
                <a:gd name="connsiteX104" fmla="*/ 3322322 w 11863054"/>
                <a:gd name="connsiteY104" fmla="*/ 1906207 h 6858000"/>
                <a:gd name="connsiteX105" fmla="*/ 3041925 w 11863054"/>
                <a:gd name="connsiteY105" fmla="*/ 2391985 h 6858000"/>
                <a:gd name="connsiteX106" fmla="*/ 2480523 w 11863054"/>
                <a:gd name="connsiteY106" fmla="*/ 2391985 h 6858000"/>
                <a:gd name="connsiteX107" fmla="*/ 2200347 w 11863054"/>
                <a:gd name="connsiteY107" fmla="*/ 1906706 h 6858000"/>
                <a:gd name="connsiteX108" fmla="*/ 2481187 w 11863054"/>
                <a:gd name="connsiteY108" fmla="*/ 1420097 h 6858000"/>
                <a:gd name="connsiteX109" fmla="*/ 6467243 w 11863054"/>
                <a:gd name="connsiteY109" fmla="*/ 1419654 h 6858000"/>
                <a:gd name="connsiteX110" fmla="*/ 6747862 w 11863054"/>
                <a:gd name="connsiteY110" fmla="*/ 1905597 h 6858000"/>
                <a:gd name="connsiteX111" fmla="*/ 6467409 w 11863054"/>
                <a:gd name="connsiteY111" fmla="*/ 2391486 h 6858000"/>
                <a:gd name="connsiteX112" fmla="*/ 5905785 w 11863054"/>
                <a:gd name="connsiteY112" fmla="*/ 2391486 h 6858000"/>
                <a:gd name="connsiteX113" fmla="*/ 5625333 w 11863054"/>
                <a:gd name="connsiteY113" fmla="*/ 1905708 h 6858000"/>
                <a:gd name="connsiteX114" fmla="*/ 5735696 w 11863054"/>
                <a:gd name="connsiteY114" fmla="*/ 1714456 h 6858000"/>
                <a:gd name="connsiteX115" fmla="*/ 5905950 w 11863054"/>
                <a:gd name="connsiteY115" fmla="*/ 1419654 h 6858000"/>
                <a:gd name="connsiteX116" fmla="*/ 8180151 w 11863054"/>
                <a:gd name="connsiteY116" fmla="*/ 1419654 h 6858000"/>
                <a:gd name="connsiteX117" fmla="*/ 8460603 w 11863054"/>
                <a:gd name="connsiteY117" fmla="*/ 1905487 h 6858000"/>
                <a:gd name="connsiteX118" fmla="*/ 8179984 w 11863054"/>
                <a:gd name="connsiteY118" fmla="*/ 2391652 h 6858000"/>
                <a:gd name="connsiteX119" fmla="*/ 7618914 w 11863054"/>
                <a:gd name="connsiteY119" fmla="*/ 2391652 h 6858000"/>
                <a:gd name="connsiteX120" fmla="*/ 7338130 w 11863054"/>
                <a:gd name="connsiteY120" fmla="*/ 1905432 h 6858000"/>
                <a:gd name="connsiteX121" fmla="*/ 7618582 w 11863054"/>
                <a:gd name="connsiteY121" fmla="*/ 1419654 h 6858000"/>
                <a:gd name="connsiteX122" fmla="*/ 2186164 w 11863054"/>
                <a:gd name="connsiteY122" fmla="*/ 926120 h 6858000"/>
                <a:gd name="connsiteX123" fmla="*/ 2466395 w 11863054"/>
                <a:gd name="connsiteY123" fmla="*/ 1411344 h 6858000"/>
                <a:gd name="connsiteX124" fmla="*/ 2185555 w 11863054"/>
                <a:gd name="connsiteY124" fmla="*/ 1897952 h 6858000"/>
                <a:gd name="connsiteX125" fmla="*/ 1624817 w 11863054"/>
                <a:gd name="connsiteY125" fmla="*/ 1897952 h 6858000"/>
                <a:gd name="connsiteX126" fmla="*/ 1344253 w 11863054"/>
                <a:gd name="connsiteY126" fmla="*/ 1412064 h 6858000"/>
                <a:gd name="connsiteX127" fmla="*/ 1624817 w 11863054"/>
                <a:gd name="connsiteY127" fmla="*/ 926120 h 6858000"/>
                <a:gd name="connsiteX128" fmla="*/ 3897853 w 11863054"/>
                <a:gd name="connsiteY128" fmla="*/ 925677 h 6858000"/>
                <a:gd name="connsiteX129" fmla="*/ 4178583 w 11863054"/>
                <a:gd name="connsiteY129" fmla="*/ 1411842 h 6858000"/>
                <a:gd name="connsiteX130" fmla="*/ 3898186 w 11863054"/>
                <a:gd name="connsiteY130" fmla="*/ 1897620 h 6858000"/>
                <a:gd name="connsiteX131" fmla="*/ 3336838 w 11863054"/>
                <a:gd name="connsiteY131" fmla="*/ 1897620 h 6858000"/>
                <a:gd name="connsiteX132" fmla="*/ 3056607 w 11863054"/>
                <a:gd name="connsiteY132" fmla="*/ 1412174 h 6858000"/>
                <a:gd name="connsiteX133" fmla="*/ 3337503 w 11863054"/>
                <a:gd name="connsiteY133" fmla="*/ 925677 h 6858000"/>
                <a:gd name="connsiteX134" fmla="*/ 5610872 w 11863054"/>
                <a:gd name="connsiteY134" fmla="*/ 925622 h 6858000"/>
                <a:gd name="connsiteX135" fmla="*/ 5891380 w 11863054"/>
                <a:gd name="connsiteY135" fmla="*/ 1411455 h 6858000"/>
                <a:gd name="connsiteX136" fmla="*/ 5710376 w 11863054"/>
                <a:gd name="connsiteY136" fmla="*/ 1725093 h 6858000"/>
                <a:gd name="connsiteX137" fmla="*/ 5610761 w 11863054"/>
                <a:gd name="connsiteY137" fmla="*/ 1897453 h 6858000"/>
                <a:gd name="connsiteX138" fmla="*/ 5049414 w 11863054"/>
                <a:gd name="connsiteY138" fmla="*/ 1897453 h 6858000"/>
                <a:gd name="connsiteX139" fmla="*/ 4768851 w 11863054"/>
                <a:gd name="connsiteY139" fmla="*/ 1411565 h 6858000"/>
                <a:gd name="connsiteX140" fmla="*/ 5049469 w 11863054"/>
                <a:gd name="connsiteY140" fmla="*/ 925622 h 6858000"/>
                <a:gd name="connsiteX141" fmla="*/ 7323392 w 11863054"/>
                <a:gd name="connsiteY141" fmla="*/ 925123 h 6858000"/>
                <a:gd name="connsiteX142" fmla="*/ 7604121 w 11863054"/>
                <a:gd name="connsiteY142" fmla="*/ 1411344 h 6858000"/>
                <a:gd name="connsiteX143" fmla="*/ 7323558 w 11863054"/>
                <a:gd name="connsiteY143" fmla="*/ 1896955 h 6858000"/>
                <a:gd name="connsiteX144" fmla="*/ 6762100 w 11863054"/>
                <a:gd name="connsiteY144" fmla="*/ 1896955 h 6858000"/>
                <a:gd name="connsiteX145" fmla="*/ 6481537 w 11863054"/>
                <a:gd name="connsiteY145" fmla="*/ 1411178 h 6858000"/>
                <a:gd name="connsiteX146" fmla="*/ 6591069 w 11863054"/>
                <a:gd name="connsiteY146" fmla="*/ 1221532 h 6858000"/>
                <a:gd name="connsiteX147" fmla="*/ 6762266 w 11863054"/>
                <a:gd name="connsiteY147" fmla="*/ 925123 h 6858000"/>
                <a:gd name="connsiteX148" fmla="*/ 9036411 w 11863054"/>
                <a:gd name="connsiteY148" fmla="*/ 925068 h 6858000"/>
                <a:gd name="connsiteX149" fmla="*/ 9316919 w 11863054"/>
                <a:gd name="connsiteY149" fmla="*/ 1410955 h 6858000"/>
                <a:gd name="connsiteX150" fmla="*/ 9036245 w 11863054"/>
                <a:gd name="connsiteY150" fmla="*/ 1896955 h 6858000"/>
                <a:gd name="connsiteX151" fmla="*/ 8475008 w 11863054"/>
                <a:gd name="connsiteY151" fmla="*/ 1896955 h 6858000"/>
                <a:gd name="connsiteX152" fmla="*/ 8194389 w 11863054"/>
                <a:gd name="connsiteY152" fmla="*/ 1411066 h 6858000"/>
                <a:gd name="connsiteX153" fmla="*/ 8475008 w 11863054"/>
                <a:gd name="connsiteY153" fmla="*/ 925068 h 6858000"/>
                <a:gd name="connsiteX154" fmla="*/ 1329738 w 11863054"/>
                <a:gd name="connsiteY154" fmla="*/ 432032 h 6858000"/>
                <a:gd name="connsiteX155" fmla="*/ 1610245 w 11863054"/>
                <a:gd name="connsiteY155" fmla="*/ 917810 h 6858000"/>
                <a:gd name="connsiteX156" fmla="*/ 1329627 w 11863054"/>
                <a:gd name="connsiteY156" fmla="*/ 1403864 h 6858000"/>
                <a:gd name="connsiteX157" fmla="*/ 768446 w 11863054"/>
                <a:gd name="connsiteY157" fmla="*/ 1403864 h 6858000"/>
                <a:gd name="connsiteX158" fmla="*/ 487827 w 11863054"/>
                <a:gd name="connsiteY158" fmla="*/ 917810 h 6858000"/>
                <a:gd name="connsiteX159" fmla="*/ 768335 w 11863054"/>
                <a:gd name="connsiteY159" fmla="*/ 432032 h 6858000"/>
                <a:gd name="connsiteX160" fmla="*/ 3042369 w 11863054"/>
                <a:gd name="connsiteY160" fmla="*/ 431534 h 6858000"/>
                <a:gd name="connsiteX161" fmla="*/ 3322599 w 11863054"/>
                <a:gd name="connsiteY161" fmla="*/ 916979 h 6858000"/>
                <a:gd name="connsiteX162" fmla="*/ 3041704 w 11863054"/>
                <a:gd name="connsiteY162" fmla="*/ 1403366 h 6858000"/>
                <a:gd name="connsiteX163" fmla="*/ 2481187 w 11863054"/>
                <a:gd name="connsiteY163" fmla="*/ 1403366 h 6858000"/>
                <a:gd name="connsiteX164" fmla="*/ 2200569 w 11863054"/>
                <a:gd name="connsiteY164" fmla="*/ 917422 h 6858000"/>
                <a:gd name="connsiteX165" fmla="*/ 2481021 w 11863054"/>
                <a:gd name="connsiteY165" fmla="*/ 431534 h 6858000"/>
                <a:gd name="connsiteX166" fmla="*/ 4754335 w 11863054"/>
                <a:gd name="connsiteY166" fmla="*/ 431534 h 6858000"/>
                <a:gd name="connsiteX167" fmla="*/ 5034898 w 11863054"/>
                <a:gd name="connsiteY167" fmla="*/ 917477 h 6858000"/>
                <a:gd name="connsiteX168" fmla="*/ 4754169 w 11863054"/>
                <a:gd name="connsiteY168" fmla="*/ 1403366 h 6858000"/>
                <a:gd name="connsiteX169" fmla="*/ 4193043 w 11863054"/>
                <a:gd name="connsiteY169" fmla="*/ 1403366 h 6858000"/>
                <a:gd name="connsiteX170" fmla="*/ 3912701 w 11863054"/>
                <a:gd name="connsiteY170" fmla="*/ 917810 h 6858000"/>
                <a:gd name="connsiteX171" fmla="*/ 4193541 w 11863054"/>
                <a:gd name="connsiteY171" fmla="*/ 431534 h 6858000"/>
                <a:gd name="connsiteX172" fmla="*/ 6467243 w 11863054"/>
                <a:gd name="connsiteY172" fmla="*/ 431090 h 6858000"/>
                <a:gd name="connsiteX173" fmla="*/ 6747695 w 11863054"/>
                <a:gd name="connsiteY173" fmla="*/ 916979 h 6858000"/>
                <a:gd name="connsiteX174" fmla="*/ 6693400 w 11863054"/>
                <a:gd name="connsiteY174" fmla="*/ 1011054 h 6858000"/>
                <a:gd name="connsiteX175" fmla="*/ 6467077 w 11863054"/>
                <a:gd name="connsiteY175" fmla="*/ 1403033 h 6858000"/>
                <a:gd name="connsiteX176" fmla="*/ 5905729 w 11863054"/>
                <a:gd name="connsiteY176" fmla="*/ 1403033 h 6858000"/>
                <a:gd name="connsiteX177" fmla="*/ 5625166 w 11863054"/>
                <a:gd name="connsiteY177" fmla="*/ 916979 h 6858000"/>
                <a:gd name="connsiteX178" fmla="*/ 5905674 w 11863054"/>
                <a:gd name="connsiteY178" fmla="*/ 431090 h 6858000"/>
                <a:gd name="connsiteX179" fmla="*/ 8179874 w 11863054"/>
                <a:gd name="connsiteY179" fmla="*/ 431035 h 6858000"/>
                <a:gd name="connsiteX180" fmla="*/ 8460326 w 11863054"/>
                <a:gd name="connsiteY180" fmla="*/ 916812 h 6858000"/>
                <a:gd name="connsiteX181" fmla="*/ 8179818 w 11863054"/>
                <a:gd name="connsiteY181" fmla="*/ 1402867 h 6858000"/>
                <a:gd name="connsiteX182" fmla="*/ 7618582 w 11863054"/>
                <a:gd name="connsiteY182" fmla="*/ 1402867 h 6858000"/>
                <a:gd name="connsiteX183" fmla="*/ 7337963 w 11863054"/>
                <a:gd name="connsiteY183" fmla="*/ 916812 h 6858000"/>
                <a:gd name="connsiteX184" fmla="*/ 7618471 w 11863054"/>
                <a:gd name="connsiteY184" fmla="*/ 431035 h 6858000"/>
                <a:gd name="connsiteX185" fmla="*/ 9892505 w 11863054"/>
                <a:gd name="connsiteY185" fmla="*/ 430592 h 6858000"/>
                <a:gd name="connsiteX186" fmla="*/ 10173123 w 11863054"/>
                <a:gd name="connsiteY186" fmla="*/ 916536 h 6858000"/>
                <a:gd name="connsiteX187" fmla="*/ 9892560 w 11863054"/>
                <a:gd name="connsiteY187" fmla="*/ 1402534 h 6858000"/>
                <a:gd name="connsiteX188" fmla="*/ 9331323 w 11863054"/>
                <a:gd name="connsiteY188" fmla="*/ 1402534 h 6858000"/>
                <a:gd name="connsiteX189" fmla="*/ 9050650 w 11863054"/>
                <a:gd name="connsiteY189" fmla="*/ 916424 h 6858000"/>
                <a:gd name="connsiteX190" fmla="*/ 9331157 w 11863054"/>
                <a:gd name="connsiteY190" fmla="*/ 430592 h 6858000"/>
                <a:gd name="connsiteX191" fmla="*/ 11863054 w 11863054"/>
                <a:gd name="connsiteY191" fmla="*/ 0 h 6858000"/>
                <a:gd name="connsiteX192" fmla="*/ 11843939 w 11863054"/>
                <a:gd name="connsiteY192" fmla="*/ 0 h 6858000"/>
                <a:gd name="connsiteX193" fmla="*/ 11604970 w 11863054"/>
                <a:gd name="connsiteY193" fmla="*/ 413916 h 6858000"/>
                <a:gd name="connsiteX194" fmla="*/ 11043788 w 11863054"/>
                <a:gd name="connsiteY194" fmla="*/ 413916 h 6858000"/>
                <a:gd name="connsiteX195" fmla="*/ 10804853 w 11863054"/>
                <a:gd name="connsiteY195" fmla="*/ 0 h 6858000"/>
                <a:gd name="connsiteX196" fmla="*/ 10785529 w 11863054"/>
                <a:gd name="connsiteY196" fmla="*/ 0 h 6858000"/>
                <a:gd name="connsiteX197" fmla="*/ 11029217 w 11863054"/>
                <a:gd name="connsiteY197" fmla="*/ 422170 h 6858000"/>
                <a:gd name="connsiteX198" fmla="*/ 10748654 w 11863054"/>
                <a:gd name="connsiteY198" fmla="*/ 908114 h 6858000"/>
                <a:gd name="connsiteX199" fmla="*/ 10187639 w 11863054"/>
                <a:gd name="connsiteY199" fmla="*/ 908114 h 6858000"/>
                <a:gd name="connsiteX200" fmla="*/ 9906965 w 11863054"/>
                <a:gd name="connsiteY200" fmla="*/ 421949 h 6858000"/>
                <a:gd name="connsiteX201" fmla="*/ 10150539 w 11863054"/>
                <a:gd name="connsiteY201" fmla="*/ 0 h 6858000"/>
                <a:gd name="connsiteX202" fmla="*/ 10131190 w 11863054"/>
                <a:gd name="connsiteY202" fmla="*/ 0 h 6858000"/>
                <a:gd name="connsiteX203" fmla="*/ 9892339 w 11863054"/>
                <a:gd name="connsiteY203" fmla="*/ 413638 h 6858000"/>
                <a:gd name="connsiteX204" fmla="*/ 9330991 w 11863054"/>
                <a:gd name="connsiteY204" fmla="*/ 413638 h 6858000"/>
                <a:gd name="connsiteX205" fmla="*/ 9092139 w 11863054"/>
                <a:gd name="connsiteY205" fmla="*/ 0 h 6858000"/>
                <a:gd name="connsiteX206" fmla="*/ 9072826 w 11863054"/>
                <a:gd name="connsiteY206" fmla="*/ 0 h 6858000"/>
                <a:gd name="connsiteX207" fmla="*/ 9316642 w 11863054"/>
                <a:gd name="connsiteY207" fmla="*/ 422392 h 6858000"/>
                <a:gd name="connsiteX208" fmla="*/ 9036189 w 11863054"/>
                <a:gd name="connsiteY208" fmla="*/ 908170 h 6858000"/>
                <a:gd name="connsiteX209" fmla="*/ 8474731 w 11863054"/>
                <a:gd name="connsiteY209" fmla="*/ 908170 h 6858000"/>
                <a:gd name="connsiteX210" fmla="*/ 8194168 w 11863054"/>
                <a:gd name="connsiteY210" fmla="*/ 422503 h 6858000"/>
                <a:gd name="connsiteX211" fmla="*/ 8438136 w 11863054"/>
                <a:gd name="connsiteY211" fmla="*/ 0 h 6858000"/>
                <a:gd name="connsiteX212" fmla="*/ 8418811 w 11863054"/>
                <a:gd name="connsiteY212" fmla="*/ 0 h 6858000"/>
                <a:gd name="connsiteX213" fmla="*/ 8179597 w 11863054"/>
                <a:gd name="connsiteY213" fmla="*/ 414303 h 6858000"/>
                <a:gd name="connsiteX214" fmla="*/ 7618582 w 11863054"/>
                <a:gd name="connsiteY214" fmla="*/ 414303 h 6858000"/>
                <a:gd name="connsiteX215" fmla="*/ 7379274 w 11863054"/>
                <a:gd name="connsiteY215" fmla="*/ 0 h 6858000"/>
                <a:gd name="connsiteX216" fmla="*/ 7359940 w 11863054"/>
                <a:gd name="connsiteY216" fmla="*/ 0 h 6858000"/>
                <a:gd name="connsiteX217" fmla="*/ 7603955 w 11863054"/>
                <a:gd name="connsiteY217" fmla="*/ 422558 h 6858000"/>
                <a:gd name="connsiteX218" fmla="*/ 7323337 w 11863054"/>
                <a:gd name="connsiteY218" fmla="*/ 908447 h 6858000"/>
                <a:gd name="connsiteX219" fmla="*/ 6762100 w 11863054"/>
                <a:gd name="connsiteY219" fmla="*/ 908447 h 6858000"/>
                <a:gd name="connsiteX220" fmla="*/ 6481482 w 11863054"/>
                <a:gd name="connsiteY220" fmla="*/ 422503 h 6858000"/>
                <a:gd name="connsiteX221" fmla="*/ 6725445 w 11863054"/>
                <a:gd name="connsiteY221" fmla="*/ 0 h 6858000"/>
                <a:gd name="connsiteX222" fmla="*/ 6706132 w 11863054"/>
                <a:gd name="connsiteY222" fmla="*/ 0 h 6858000"/>
                <a:gd name="connsiteX223" fmla="*/ 6466910 w 11863054"/>
                <a:gd name="connsiteY223" fmla="*/ 414303 h 6858000"/>
                <a:gd name="connsiteX224" fmla="*/ 5905508 w 11863054"/>
                <a:gd name="connsiteY224" fmla="*/ 414303 h 6858000"/>
                <a:gd name="connsiteX225" fmla="*/ 5666338 w 11863054"/>
                <a:gd name="connsiteY225" fmla="*/ 0 h 6858000"/>
                <a:gd name="connsiteX226" fmla="*/ 5646974 w 11863054"/>
                <a:gd name="connsiteY226" fmla="*/ 0 h 6858000"/>
                <a:gd name="connsiteX227" fmla="*/ 5891214 w 11863054"/>
                <a:gd name="connsiteY227" fmla="*/ 422946 h 6858000"/>
                <a:gd name="connsiteX228" fmla="*/ 5618463 w 11863054"/>
                <a:gd name="connsiteY228" fmla="*/ 895261 h 6858000"/>
                <a:gd name="connsiteX229" fmla="*/ 5610706 w 11863054"/>
                <a:gd name="connsiteY229" fmla="*/ 908835 h 6858000"/>
                <a:gd name="connsiteX230" fmla="*/ 5049192 w 11863054"/>
                <a:gd name="connsiteY230" fmla="*/ 908835 h 6858000"/>
                <a:gd name="connsiteX231" fmla="*/ 4769017 w 11863054"/>
                <a:gd name="connsiteY231" fmla="*/ 423556 h 6858000"/>
                <a:gd name="connsiteX232" fmla="*/ 5013591 w 11863054"/>
                <a:gd name="connsiteY232" fmla="*/ 0 h 6858000"/>
                <a:gd name="connsiteX233" fmla="*/ 4993649 w 11863054"/>
                <a:gd name="connsiteY233" fmla="*/ 0 h 6858000"/>
                <a:gd name="connsiteX234" fmla="*/ 4754058 w 11863054"/>
                <a:gd name="connsiteY234" fmla="*/ 414857 h 6858000"/>
                <a:gd name="connsiteX235" fmla="*/ 4193652 w 11863054"/>
                <a:gd name="connsiteY235" fmla="*/ 414857 h 6858000"/>
                <a:gd name="connsiteX236" fmla="*/ 3954146 w 11863054"/>
                <a:gd name="connsiteY236" fmla="*/ 0 h 6858000"/>
                <a:gd name="connsiteX237" fmla="*/ 3934827 w 11863054"/>
                <a:gd name="connsiteY237" fmla="*/ 0 h 6858000"/>
                <a:gd name="connsiteX238" fmla="*/ 4178860 w 11863054"/>
                <a:gd name="connsiteY238" fmla="*/ 422669 h 6858000"/>
                <a:gd name="connsiteX239" fmla="*/ 3898186 w 11863054"/>
                <a:gd name="connsiteY239" fmla="*/ 909056 h 6858000"/>
                <a:gd name="connsiteX240" fmla="*/ 3337503 w 11863054"/>
                <a:gd name="connsiteY240" fmla="*/ 909056 h 6858000"/>
                <a:gd name="connsiteX241" fmla="*/ 3056829 w 11863054"/>
                <a:gd name="connsiteY241" fmla="*/ 422946 h 6858000"/>
                <a:gd name="connsiteX242" fmla="*/ 3300979 w 11863054"/>
                <a:gd name="connsiteY242" fmla="*/ 0 h 6858000"/>
                <a:gd name="connsiteX243" fmla="*/ 3281513 w 11863054"/>
                <a:gd name="connsiteY243" fmla="*/ 0 h 6858000"/>
                <a:gd name="connsiteX244" fmla="*/ 3042203 w 11863054"/>
                <a:gd name="connsiteY244" fmla="*/ 414691 h 6858000"/>
                <a:gd name="connsiteX245" fmla="*/ 2480855 w 11863054"/>
                <a:gd name="connsiteY245" fmla="*/ 414691 h 6858000"/>
                <a:gd name="connsiteX246" fmla="*/ 2241403 w 11863054"/>
                <a:gd name="connsiteY246" fmla="*/ 0 h 6858000"/>
                <a:gd name="connsiteX247" fmla="*/ 2222087 w 11863054"/>
                <a:gd name="connsiteY247" fmla="*/ 0 h 6858000"/>
                <a:gd name="connsiteX248" fmla="*/ 2466505 w 11863054"/>
                <a:gd name="connsiteY248" fmla="*/ 423389 h 6858000"/>
                <a:gd name="connsiteX249" fmla="*/ 2214697 w 11863054"/>
                <a:gd name="connsiteY249" fmla="*/ 859580 h 6858000"/>
                <a:gd name="connsiteX250" fmla="*/ 2186053 w 11863054"/>
                <a:gd name="connsiteY250" fmla="*/ 909278 h 6858000"/>
                <a:gd name="connsiteX251" fmla="*/ 1624539 w 11863054"/>
                <a:gd name="connsiteY251" fmla="*/ 909278 h 6858000"/>
                <a:gd name="connsiteX252" fmla="*/ 1344087 w 11863054"/>
                <a:gd name="connsiteY252" fmla="*/ 423445 h 6858000"/>
                <a:gd name="connsiteX253" fmla="*/ 1588559 w 11863054"/>
                <a:gd name="connsiteY253" fmla="*/ 0 h 6858000"/>
                <a:gd name="connsiteX254" fmla="*/ 1569223 w 11863054"/>
                <a:gd name="connsiteY254" fmla="*/ 0 h 6858000"/>
                <a:gd name="connsiteX255" fmla="*/ 1329461 w 11863054"/>
                <a:gd name="connsiteY255" fmla="*/ 415301 h 6858000"/>
                <a:gd name="connsiteX256" fmla="*/ 768446 w 11863054"/>
                <a:gd name="connsiteY256" fmla="*/ 415301 h 6858000"/>
                <a:gd name="connsiteX257" fmla="*/ 528589 w 11863054"/>
                <a:gd name="connsiteY257" fmla="*/ 0 h 6858000"/>
                <a:gd name="connsiteX258" fmla="*/ 509180 w 11863054"/>
                <a:gd name="connsiteY258" fmla="*/ 0 h 6858000"/>
                <a:gd name="connsiteX259" fmla="*/ 753764 w 11863054"/>
                <a:gd name="connsiteY259" fmla="*/ 423667 h 6858000"/>
                <a:gd name="connsiteX260" fmla="*/ 473201 w 11863054"/>
                <a:gd name="connsiteY260" fmla="*/ 909444 h 6858000"/>
                <a:gd name="connsiteX261" fmla="*/ 0 w 11863054"/>
                <a:gd name="connsiteY261" fmla="*/ 909444 h 6858000"/>
                <a:gd name="connsiteX262" fmla="*/ 0 w 11863054"/>
                <a:gd name="connsiteY262" fmla="*/ 926120 h 6858000"/>
                <a:gd name="connsiteX263" fmla="*/ 473201 w 11863054"/>
                <a:gd name="connsiteY263" fmla="*/ 926120 h 6858000"/>
                <a:gd name="connsiteX264" fmla="*/ 754041 w 11863054"/>
                <a:gd name="connsiteY264" fmla="*/ 1412285 h 6858000"/>
                <a:gd name="connsiteX265" fmla="*/ 473533 w 11863054"/>
                <a:gd name="connsiteY265" fmla="*/ 1898063 h 6858000"/>
                <a:gd name="connsiteX266" fmla="*/ 0 w 11863054"/>
                <a:gd name="connsiteY266" fmla="*/ 1898063 h 6858000"/>
                <a:gd name="connsiteX267" fmla="*/ 0 w 11863054"/>
                <a:gd name="connsiteY267" fmla="*/ 1914850 h 6858000"/>
                <a:gd name="connsiteX268" fmla="*/ 473533 w 11863054"/>
                <a:gd name="connsiteY268" fmla="*/ 1914850 h 6858000"/>
                <a:gd name="connsiteX269" fmla="*/ 753875 w 11863054"/>
                <a:gd name="connsiteY269" fmla="*/ 2400517 h 6858000"/>
                <a:gd name="connsiteX270" fmla="*/ 473201 w 11863054"/>
                <a:gd name="connsiteY270" fmla="*/ 2886737 h 6858000"/>
                <a:gd name="connsiteX271" fmla="*/ 0 w 11863054"/>
                <a:gd name="connsiteY271" fmla="*/ 2886737 h 6858000"/>
                <a:gd name="connsiteX272" fmla="*/ 0 w 11863054"/>
                <a:gd name="connsiteY272" fmla="*/ 2903414 h 6858000"/>
                <a:gd name="connsiteX273" fmla="*/ 472924 w 11863054"/>
                <a:gd name="connsiteY273" fmla="*/ 2903414 h 6858000"/>
                <a:gd name="connsiteX274" fmla="*/ 753597 w 11863054"/>
                <a:gd name="connsiteY274" fmla="*/ 3389579 h 6858000"/>
                <a:gd name="connsiteX275" fmla="*/ 473201 w 11863054"/>
                <a:gd name="connsiteY275" fmla="*/ 3875245 h 6858000"/>
                <a:gd name="connsiteX276" fmla="*/ 0 w 11863054"/>
                <a:gd name="connsiteY276" fmla="*/ 3875245 h 6858000"/>
                <a:gd name="connsiteX277" fmla="*/ 0 w 11863054"/>
                <a:gd name="connsiteY277" fmla="*/ 3892032 h 6858000"/>
                <a:gd name="connsiteX278" fmla="*/ 473367 w 11863054"/>
                <a:gd name="connsiteY278" fmla="*/ 3892032 h 6858000"/>
                <a:gd name="connsiteX279" fmla="*/ 753875 w 11863054"/>
                <a:gd name="connsiteY279" fmla="*/ 4377921 h 6858000"/>
                <a:gd name="connsiteX280" fmla="*/ 473201 w 11863054"/>
                <a:gd name="connsiteY280" fmla="*/ 4863975 h 6858000"/>
                <a:gd name="connsiteX281" fmla="*/ 0 w 11863054"/>
                <a:gd name="connsiteY281" fmla="*/ 4863975 h 6858000"/>
                <a:gd name="connsiteX282" fmla="*/ 0 w 11863054"/>
                <a:gd name="connsiteY282" fmla="*/ 4880651 h 6858000"/>
                <a:gd name="connsiteX283" fmla="*/ 473422 w 11863054"/>
                <a:gd name="connsiteY283" fmla="*/ 4880651 h 6858000"/>
                <a:gd name="connsiteX284" fmla="*/ 754041 w 11863054"/>
                <a:gd name="connsiteY284" fmla="*/ 5366650 h 6858000"/>
                <a:gd name="connsiteX285" fmla="*/ 473478 w 11863054"/>
                <a:gd name="connsiteY285" fmla="*/ 5852538 h 6858000"/>
                <a:gd name="connsiteX286" fmla="*/ 0 w 11863054"/>
                <a:gd name="connsiteY286" fmla="*/ 5852538 h 6858000"/>
                <a:gd name="connsiteX287" fmla="*/ 0 w 11863054"/>
                <a:gd name="connsiteY287" fmla="*/ 5869436 h 6858000"/>
                <a:gd name="connsiteX288" fmla="*/ 473699 w 11863054"/>
                <a:gd name="connsiteY288" fmla="*/ 5869436 h 6858000"/>
                <a:gd name="connsiteX289" fmla="*/ 754262 w 11863054"/>
                <a:gd name="connsiteY289" fmla="*/ 6355158 h 6858000"/>
                <a:gd name="connsiteX290" fmla="*/ 473644 w 11863054"/>
                <a:gd name="connsiteY290" fmla="*/ 6841324 h 6858000"/>
                <a:gd name="connsiteX291" fmla="*/ 0 w 11863054"/>
                <a:gd name="connsiteY291" fmla="*/ 6841324 h 6858000"/>
                <a:gd name="connsiteX292" fmla="*/ 0 w 11863054"/>
                <a:gd name="connsiteY292" fmla="*/ 6858000 h 6858000"/>
                <a:gd name="connsiteX293" fmla="*/ 483173 w 11863054"/>
                <a:gd name="connsiteY293" fmla="*/ 6858000 h 6858000"/>
                <a:gd name="connsiteX294" fmla="*/ 773377 w 11863054"/>
                <a:gd name="connsiteY294" fmla="*/ 6355214 h 6858000"/>
                <a:gd name="connsiteX295" fmla="*/ 487938 w 11863054"/>
                <a:gd name="connsiteY295" fmla="*/ 5860849 h 6858000"/>
                <a:gd name="connsiteX296" fmla="*/ 773266 w 11863054"/>
                <a:gd name="connsiteY296" fmla="*/ 5366761 h 6858000"/>
                <a:gd name="connsiteX297" fmla="*/ 487716 w 11863054"/>
                <a:gd name="connsiteY297" fmla="*/ 4872175 h 6858000"/>
                <a:gd name="connsiteX298" fmla="*/ 773099 w 11863054"/>
                <a:gd name="connsiteY298" fmla="*/ 4378031 h 6858000"/>
                <a:gd name="connsiteX299" fmla="*/ 487606 w 11863054"/>
                <a:gd name="connsiteY299" fmla="*/ 3883611 h 6858000"/>
                <a:gd name="connsiteX300" fmla="*/ 768002 w 11863054"/>
                <a:gd name="connsiteY300" fmla="*/ 3398111 h 6858000"/>
                <a:gd name="connsiteX301" fmla="*/ 1338990 w 11863054"/>
                <a:gd name="connsiteY301" fmla="*/ 3398111 h 6858000"/>
                <a:gd name="connsiteX302" fmla="*/ 1624539 w 11863054"/>
                <a:gd name="connsiteY302" fmla="*/ 2903469 h 6858000"/>
                <a:gd name="connsiteX303" fmla="*/ 2185943 w 11863054"/>
                <a:gd name="connsiteY303" fmla="*/ 2903469 h 6858000"/>
                <a:gd name="connsiteX304" fmla="*/ 2466505 w 11863054"/>
                <a:gd name="connsiteY304" fmla="*/ 3389246 h 6858000"/>
                <a:gd name="connsiteX305" fmla="*/ 2185887 w 11863054"/>
                <a:gd name="connsiteY305" fmla="*/ 3875245 h 6858000"/>
                <a:gd name="connsiteX306" fmla="*/ 1615010 w 11863054"/>
                <a:gd name="connsiteY306" fmla="*/ 3875245 h 6858000"/>
                <a:gd name="connsiteX307" fmla="*/ 1324807 w 11863054"/>
                <a:gd name="connsiteY307" fmla="*/ 4378031 h 6858000"/>
                <a:gd name="connsiteX308" fmla="*/ 1610245 w 11863054"/>
                <a:gd name="connsiteY308" fmla="*/ 4872396 h 6858000"/>
                <a:gd name="connsiteX309" fmla="*/ 1324973 w 11863054"/>
                <a:gd name="connsiteY309" fmla="*/ 5366595 h 6858000"/>
                <a:gd name="connsiteX310" fmla="*/ 1615232 w 11863054"/>
                <a:gd name="connsiteY310" fmla="*/ 5869215 h 6858000"/>
                <a:gd name="connsiteX311" fmla="*/ 2195693 w 11863054"/>
                <a:gd name="connsiteY311" fmla="*/ 5869215 h 6858000"/>
                <a:gd name="connsiteX312" fmla="*/ 2485952 w 11863054"/>
                <a:gd name="connsiteY312" fmla="*/ 5366539 h 6858000"/>
                <a:gd name="connsiteX313" fmla="*/ 2200403 w 11863054"/>
                <a:gd name="connsiteY313" fmla="*/ 4872064 h 6858000"/>
                <a:gd name="connsiteX314" fmla="*/ 2481021 w 11863054"/>
                <a:gd name="connsiteY314" fmla="*/ 4386120 h 6858000"/>
                <a:gd name="connsiteX315" fmla="*/ 3042369 w 11863054"/>
                <a:gd name="connsiteY315" fmla="*/ 4386120 h 6858000"/>
                <a:gd name="connsiteX316" fmla="*/ 3327641 w 11863054"/>
                <a:gd name="connsiteY316" fmla="*/ 4880263 h 6858000"/>
                <a:gd name="connsiteX317" fmla="*/ 3908214 w 11863054"/>
                <a:gd name="connsiteY317" fmla="*/ 4880263 h 6858000"/>
                <a:gd name="connsiteX318" fmla="*/ 4193541 w 11863054"/>
                <a:gd name="connsiteY318" fmla="*/ 4386120 h 6858000"/>
                <a:gd name="connsiteX319" fmla="*/ 4764474 w 11863054"/>
                <a:gd name="connsiteY319" fmla="*/ 4386120 h 6858000"/>
                <a:gd name="connsiteX320" fmla="*/ 5050023 w 11863054"/>
                <a:gd name="connsiteY320" fmla="*/ 3891478 h 6858000"/>
                <a:gd name="connsiteX321" fmla="*/ 5620734 w 11863054"/>
                <a:gd name="connsiteY321" fmla="*/ 3891478 h 6858000"/>
                <a:gd name="connsiteX322" fmla="*/ 5906173 w 11863054"/>
                <a:gd name="connsiteY322" fmla="*/ 3396948 h 6858000"/>
                <a:gd name="connsiteX323" fmla="*/ 6476938 w 11863054"/>
                <a:gd name="connsiteY323" fmla="*/ 3396948 h 6858000"/>
                <a:gd name="connsiteX324" fmla="*/ 6762488 w 11863054"/>
                <a:gd name="connsiteY324" fmla="*/ 2902416 h 6858000"/>
                <a:gd name="connsiteX325" fmla="*/ 7333199 w 11863054"/>
                <a:gd name="connsiteY325" fmla="*/ 2902416 h 6858000"/>
                <a:gd name="connsiteX326" fmla="*/ 7618637 w 11863054"/>
                <a:gd name="connsiteY326" fmla="*/ 2408218 h 6858000"/>
                <a:gd name="connsiteX327" fmla="*/ 8189569 w 11863054"/>
                <a:gd name="connsiteY327" fmla="*/ 2408218 h 6858000"/>
                <a:gd name="connsiteX328" fmla="*/ 8475063 w 11863054"/>
                <a:gd name="connsiteY328" fmla="*/ 1913631 h 6858000"/>
                <a:gd name="connsiteX329" fmla="*/ 9045830 w 11863054"/>
                <a:gd name="connsiteY329" fmla="*/ 1913631 h 6858000"/>
                <a:gd name="connsiteX330" fmla="*/ 9331379 w 11863054"/>
                <a:gd name="connsiteY330" fmla="*/ 1419100 h 6858000"/>
                <a:gd name="connsiteX331" fmla="*/ 9902145 w 11863054"/>
                <a:gd name="connsiteY331" fmla="*/ 1419100 h 6858000"/>
                <a:gd name="connsiteX332" fmla="*/ 10187584 w 11863054"/>
                <a:gd name="connsiteY332" fmla="*/ 924680 h 6858000"/>
                <a:gd name="connsiteX333" fmla="*/ 10758184 w 11863054"/>
                <a:gd name="connsiteY333" fmla="*/ 924680 h 6858000"/>
                <a:gd name="connsiteX334" fmla="*/ 11043511 w 11863054"/>
                <a:gd name="connsiteY334" fmla="*/ 430537 h 6858000"/>
                <a:gd name="connsiteX335" fmla="*/ 11614444 w 11863054"/>
                <a:gd name="connsiteY335" fmla="*/ 43053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11863054" h="6858000">
                  <a:moveTo>
                    <a:pt x="2186275" y="4880651"/>
                  </a:moveTo>
                  <a:lnTo>
                    <a:pt x="2466727" y="5366539"/>
                  </a:lnTo>
                  <a:lnTo>
                    <a:pt x="2186109" y="5852538"/>
                  </a:lnTo>
                  <a:lnTo>
                    <a:pt x="1624817" y="5852538"/>
                  </a:lnTo>
                  <a:lnTo>
                    <a:pt x="1344198" y="5366539"/>
                  </a:lnTo>
                  <a:lnTo>
                    <a:pt x="1624650" y="4880651"/>
                  </a:lnTo>
                  <a:close/>
                  <a:moveTo>
                    <a:pt x="2185887" y="3891755"/>
                  </a:moveTo>
                  <a:lnTo>
                    <a:pt x="2466505" y="4377921"/>
                  </a:lnTo>
                  <a:lnTo>
                    <a:pt x="2186053" y="4863753"/>
                  </a:lnTo>
                  <a:lnTo>
                    <a:pt x="1624539" y="4863753"/>
                  </a:lnTo>
                  <a:lnTo>
                    <a:pt x="1343977" y="4377921"/>
                  </a:lnTo>
                  <a:lnTo>
                    <a:pt x="1624650" y="3891755"/>
                  </a:lnTo>
                  <a:close/>
                  <a:moveTo>
                    <a:pt x="3898518" y="3891700"/>
                  </a:moveTo>
                  <a:lnTo>
                    <a:pt x="4179137" y="4377644"/>
                  </a:lnTo>
                  <a:lnTo>
                    <a:pt x="3898518" y="4863642"/>
                  </a:lnTo>
                  <a:lnTo>
                    <a:pt x="3337226" y="4863642"/>
                  </a:lnTo>
                  <a:lnTo>
                    <a:pt x="3056718" y="4377644"/>
                  </a:lnTo>
                  <a:lnTo>
                    <a:pt x="3337337" y="3891700"/>
                  </a:lnTo>
                  <a:close/>
                  <a:moveTo>
                    <a:pt x="4755000" y="3397502"/>
                  </a:moveTo>
                  <a:lnTo>
                    <a:pt x="5035508" y="3883389"/>
                  </a:lnTo>
                  <a:lnTo>
                    <a:pt x="4754778" y="4369444"/>
                  </a:lnTo>
                  <a:lnTo>
                    <a:pt x="4193652" y="4369444"/>
                  </a:lnTo>
                  <a:lnTo>
                    <a:pt x="3912978" y="3883223"/>
                  </a:lnTo>
                  <a:lnTo>
                    <a:pt x="4193541" y="3397502"/>
                  </a:lnTo>
                  <a:close/>
                  <a:moveTo>
                    <a:pt x="3042147" y="3397391"/>
                  </a:moveTo>
                  <a:lnTo>
                    <a:pt x="3322710" y="3883389"/>
                  </a:lnTo>
                  <a:lnTo>
                    <a:pt x="3042147" y="4369444"/>
                  </a:lnTo>
                  <a:lnTo>
                    <a:pt x="2480966" y="4369444"/>
                  </a:lnTo>
                  <a:lnTo>
                    <a:pt x="2200292" y="3883389"/>
                  </a:lnTo>
                  <a:lnTo>
                    <a:pt x="2480911" y="3397391"/>
                  </a:lnTo>
                  <a:close/>
                  <a:moveTo>
                    <a:pt x="3898186" y="2902970"/>
                  </a:moveTo>
                  <a:lnTo>
                    <a:pt x="4178860" y="3389136"/>
                  </a:lnTo>
                  <a:lnTo>
                    <a:pt x="3898463" y="3874857"/>
                  </a:lnTo>
                  <a:lnTo>
                    <a:pt x="3337115" y="3874857"/>
                  </a:lnTo>
                  <a:lnTo>
                    <a:pt x="3056607" y="3388969"/>
                  </a:lnTo>
                  <a:lnTo>
                    <a:pt x="3337115" y="2902970"/>
                  </a:lnTo>
                  <a:close/>
                  <a:moveTo>
                    <a:pt x="5611205" y="2902915"/>
                  </a:moveTo>
                  <a:lnTo>
                    <a:pt x="5891712" y="3388748"/>
                  </a:lnTo>
                  <a:lnTo>
                    <a:pt x="5611149" y="3874857"/>
                  </a:lnTo>
                  <a:lnTo>
                    <a:pt x="5049857" y="3874857"/>
                  </a:lnTo>
                  <a:lnTo>
                    <a:pt x="4769239" y="3388969"/>
                  </a:lnTo>
                  <a:lnTo>
                    <a:pt x="5049857" y="2902915"/>
                  </a:lnTo>
                  <a:close/>
                  <a:moveTo>
                    <a:pt x="1329350" y="2409215"/>
                  </a:moveTo>
                  <a:lnTo>
                    <a:pt x="1609968" y="2895269"/>
                  </a:lnTo>
                  <a:lnTo>
                    <a:pt x="1329350" y="3381379"/>
                  </a:lnTo>
                  <a:lnTo>
                    <a:pt x="768224" y="3381379"/>
                  </a:lnTo>
                  <a:lnTo>
                    <a:pt x="487716" y="2895546"/>
                  </a:lnTo>
                  <a:lnTo>
                    <a:pt x="768501" y="2409215"/>
                  </a:lnTo>
                  <a:close/>
                  <a:moveTo>
                    <a:pt x="3041981" y="2408883"/>
                  </a:moveTo>
                  <a:lnTo>
                    <a:pt x="3322599" y="2894826"/>
                  </a:lnTo>
                  <a:lnTo>
                    <a:pt x="3042092" y="3380714"/>
                  </a:lnTo>
                  <a:lnTo>
                    <a:pt x="2480855" y="3380714"/>
                  </a:lnTo>
                  <a:lnTo>
                    <a:pt x="2200126" y="2894715"/>
                  </a:lnTo>
                  <a:lnTo>
                    <a:pt x="2480689" y="2408883"/>
                  </a:lnTo>
                  <a:close/>
                  <a:moveTo>
                    <a:pt x="4754612" y="2408827"/>
                  </a:moveTo>
                  <a:lnTo>
                    <a:pt x="5035231" y="2894715"/>
                  </a:lnTo>
                  <a:lnTo>
                    <a:pt x="4754612" y="3380714"/>
                  </a:lnTo>
                  <a:lnTo>
                    <a:pt x="4193375" y="3380714"/>
                  </a:lnTo>
                  <a:lnTo>
                    <a:pt x="3912757" y="2894715"/>
                  </a:lnTo>
                  <a:lnTo>
                    <a:pt x="4193320" y="2408827"/>
                  </a:lnTo>
                  <a:close/>
                  <a:moveTo>
                    <a:pt x="6467576" y="2408384"/>
                  </a:moveTo>
                  <a:lnTo>
                    <a:pt x="6748083" y="2894217"/>
                  </a:lnTo>
                  <a:lnTo>
                    <a:pt x="6467409" y="3380326"/>
                  </a:lnTo>
                  <a:lnTo>
                    <a:pt x="5906173" y="3380326"/>
                  </a:lnTo>
                  <a:lnTo>
                    <a:pt x="5625554" y="2894272"/>
                  </a:lnTo>
                  <a:lnTo>
                    <a:pt x="5906006" y="2408384"/>
                  </a:lnTo>
                  <a:close/>
                  <a:moveTo>
                    <a:pt x="2185610" y="1914628"/>
                  </a:moveTo>
                  <a:lnTo>
                    <a:pt x="2466229" y="2400572"/>
                  </a:lnTo>
                  <a:lnTo>
                    <a:pt x="2423402" y="2474702"/>
                  </a:lnTo>
                  <a:lnTo>
                    <a:pt x="2185555" y="2886737"/>
                  </a:lnTo>
                  <a:lnTo>
                    <a:pt x="1624318" y="2886737"/>
                  </a:lnTo>
                  <a:lnTo>
                    <a:pt x="1344087" y="2401292"/>
                  </a:lnTo>
                  <a:lnTo>
                    <a:pt x="1625093" y="1914628"/>
                  </a:lnTo>
                  <a:close/>
                  <a:moveTo>
                    <a:pt x="3898186" y="1914462"/>
                  </a:moveTo>
                  <a:lnTo>
                    <a:pt x="4178804" y="2400461"/>
                  </a:lnTo>
                  <a:lnTo>
                    <a:pt x="3898241" y="2886349"/>
                  </a:lnTo>
                  <a:lnTo>
                    <a:pt x="3337115" y="2886349"/>
                  </a:lnTo>
                  <a:lnTo>
                    <a:pt x="3056441" y="2400295"/>
                  </a:lnTo>
                  <a:lnTo>
                    <a:pt x="3336949" y="1914462"/>
                  </a:lnTo>
                  <a:close/>
                  <a:moveTo>
                    <a:pt x="5610872" y="1914185"/>
                  </a:moveTo>
                  <a:lnTo>
                    <a:pt x="5891491" y="2400240"/>
                  </a:lnTo>
                  <a:lnTo>
                    <a:pt x="5610983" y="2886072"/>
                  </a:lnTo>
                  <a:lnTo>
                    <a:pt x="5049469" y="2886072"/>
                  </a:lnTo>
                  <a:lnTo>
                    <a:pt x="4768962" y="2400295"/>
                  </a:lnTo>
                  <a:lnTo>
                    <a:pt x="5049635" y="1914185"/>
                  </a:lnTo>
                  <a:close/>
                  <a:moveTo>
                    <a:pt x="7323669" y="1913853"/>
                  </a:moveTo>
                  <a:lnTo>
                    <a:pt x="7604232" y="2399852"/>
                  </a:lnTo>
                  <a:lnTo>
                    <a:pt x="7323669" y="2885740"/>
                  </a:lnTo>
                  <a:lnTo>
                    <a:pt x="6762377" y="2885740"/>
                  </a:lnTo>
                  <a:lnTo>
                    <a:pt x="6481870" y="2399741"/>
                  </a:lnTo>
                  <a:lnTo>
                    <a:pt x="6762322" y="1913853"/>
                  </a:lnTo>
                  <a:close/>
                  <a:moveTo>
                    <a:pt x="1330015" y="1420652"/>
                  </a:moveTo>
                  <a:lnTo>
                    <a:pt x="1610135" y="1905930"/>
                  </a:lnTo>
                  <a:lnTo>
                    <a:pt x="1329073" y="2392594"/>
                  </a:lnTo>
                  <a:lnTo>
                    <a:pt x="768723" y="2392594"/>
                  </a:lnTo>
                  <a:lnTo>
                    <a:pt x="487993" y="1906429"/>
                  </a:lnTo>
                  <a:lnTo>
                    <a:pt x="768446" y="1420652"/>
                  </a:lnTo>
                  <a:close/>
                  <a:moveTo>
                    <a:pt x="4754612" y="1420208"/>
                  </a:moveTo>
                  <a:lnTo>
                    <a:pt x="5035175" y="1906096"/>
                  </a:lnTo>
                  <a:lnTo>
                    <a:pt x="4754391" y="2392151"/>
                  </a:lnTo>
                  <a:lnTo>
                    <a:pt x="4193375" y="2392151"/>
                  </a:lnTo>
                  <a:lnTo>
                    <a:pt x="3912646" y="1905986"/>
                  </a:lnTo>
                  <a:lnTo>
                    <a:pt x="4193098" y="1420208"/>
                  </a:lnTo>
                  <a:close/>
                  <a:moveTo>
                    <a:pt x="3041704" y="1420097"/>
                  </a:moveTo>
                  <a:lnTo>
                    <a:pt x="3322322" y="1906207"/>
                  </a:lnTo>
                  <a:lnTo>
                    <a:pt x="3041925" y="2391985"/>
                  </a:lnTo>
                  <a:lnTo>
                    <a:pt x="2480523" y="2391985"/>
                  </a:lnTo>
                  <a:lnTo>
                    <a:pt x="2200347" y="1906706"/>
                  </a:lnTo>
                  <a:lnTo>
                    <a:pt x="2481187" y="1420097"/>
                  </a:lnTo>
                  <a:close/>
                  <a:moveTo>
                    <a:pt x="6467243" y="1419654"/>
                  </a:moveTo>
                  <a:lnTo>
                    <a:pt x="6747862" y="1905597"/>
                  </a:lnTo>
                  <a:lnTo>
                    <a:pt x="6467409" y="2391486"/>
                  </a:lnTo>
                  <a:lnTo>
                    <a:pt x="5905785" y="2391486"/>
                  </a:lnTo>
                  <a:lnTo>
                    <a:pt x="5625333" y="1905708"/>
                  </a:lnTo>
                  <a:lnTo>
                    <a:pt x="5735696" y="1714456"/>
                  </a:lnTo>
                  <a:lnTo>
                    <a:pt x="5905950" y="1419654"/>
                  </a:lnTo>
                  <a:close/>
                  <a:moveTo>
                    <a:pt x="8180151" y="1419654"/>
                  </a:moveTo>
                  <a:lnTo>
                    <a:pt x="8460603" y="1905487"/>
                  </a:lnTo>
                  <a:lnTo>
                    <a:pt x="8179984" y="2391652"/>
                  </a:lnTo>
                  <a:lnTo>
                    <a:pt x="7618914" y="2391652"/>
                  </a:lnTo>
                  <a:lnTo>
                    <a:pt x="7338130" y="1905432"/>
                  </a:lnTo>
                  <a:lnTo>
                    <a:pt x="7618582" y="1419654"/>
                  </a:lnTo>
                  <a:close/>
                  <a:moveTo>
                    <a:pt x="2186164" y="926120"/>
                  </a:moveTo>
                  <a:lnTo>
                    <a:pt x="2466395" y="1411344"/>
                  </a:lnTo>
                  <a:lnTo>
                    <a:pt x="2185555" y="1897952"/>
                  </a:lnTo>
                  <a:lnTo>
                    <a:pt x="1624817" y="1897952"/>
                  </a:lnTo>
                  <a:lnTo>
                    <a:pt x="1344253" y="1412064"/>
                  </a:lnTo>
                  <a:lnTo>
                    <a:pt x="1624817" y="926120"/>
                  </a:lnTo>
                  <a:close/>
                  <a:moveTo>
                    <a:pt x="3897853" y="925677"/>
                  </a:moveTo>
                  <a:lnTo>
                    <a:pt x="4178583" y="1411842"/>
                  </a:lnTo>
                  <a:lnTo>
                    <a:pt x="3898186" y="1897620"/>
                  </a:lnTo>
                  <a:lnTo>
                    <a:pt x="3336838" y="1897620"/>
                  </a:lnTo>
                  <a:lnTo>
                    <a:pt x="3056607" y="1412174"/>
                  </a:lnTo>
                  <a:lnTo>
                    <a:pt x="3337503" y="925677"/>
                  </a:lnTo>
                  <a:close/>
                  <a:moveTo>
                    <a:pt x="5610872" y="925622"/>
                  </a:moveTo>
                  <a:lnTo>
                    <a:pt x="5891380" y="1411455"/>
                  </a:lnTo>
                  <a:lnTo>
                    <a:pt x="5710376" y="1725093"/>
                  </a:lnTo>
                  <a:lnTo>
                    <a:pt x="5610761" y="1897453"/>
                  </a:lnTo>
                  <a:lnTo>
                    <a:pt x="5049414" y="1897453"/>
                  </a:lnTo>
                  <a:lnTo>
                    <a:pt x="4768851" y="1411565"/>
                  </a:lnTo>
                  <a:lnTo>
                    <a:pt x="5049469" y="925622"/>
                  </a:lnTo>
                  <a:close/>
                  <a:moveTo>
                    <a:pt x="7323392" y="925123"/>
                  </a:moveTo>
                  <a:lnTo>
                    <a:pt x="7604121" y="1411344"/>
                  </a:lnTo>
                  <a:lnTo>
                    <a:pt x="7323558" y="1896955"/>
                  </a:lnTo>
                  <a:lnTo>
                    <a:pt x="6762100" y="1896955"/>
                  </a:lnTo>
                  <a:lnTo>
                    <a:pt x="6481537" y="1411178"/>
                  </a:lnTo>
                  <a:lnTo>
                    <a:pt x="6591069" y="1221532"/>
                  </a:lnTo>
                  <a:lnTo>
                    <a:pt x="6762266" y="925123"/>
                  </a:lnTo>
                  <a:close/>
                  <a:moveTo>
                    <a:pt x="9036411" y="925068"/>
                  </a:moveTo>
                  <a:lnTo>
                    <a:pt x="9316919" y="1410955"/>
                  </a:lnTo>
                  <a:lnTo>
                    <a:pt x="9036245" y="1896955"/>
                  </a:lnTo>
                  <a:lnTo>
                    <a:pt x="8475008" y="1896955"/>
                  </a:lnTo>
                  <a:lnTo>
                    <a:pt x="8194389" y="1411066"/>
                  </a:lnTo>
                  <a:lnTo>
                    <a:pt x="8475008" y="925068"/>
                  </a:lnTo>
                  <a:close/>
                  <a:moveTo>
                    <a:pt x="1329738" y="432032"/>
                  </a:moveTo>
                  <a:lnTo>
                    <a:pt x="1610245" y="917810"/>
                  </a:lnTo>
                  <a:lnTo>
                    <a:pt x="1329627" y="1403864"/>
                  </a:lnTo>
                  <a:lnTo>
                    <a:pt x="768446" y="1403864"/>
                  </a:lnTo>
                  <a:lnTo>
                    <a:pt x="487827" y="917810"/>
                  </a:lnTo>
                  <a:lnTo>
                    <a:pt x="768335" y="432032"/>
                  </a:lnTo>
                  <a:close/>
                  <a:moveTo>
                    <a:pt x="3042369" y="431534"/>
                  </a:moveTo>
                  <a:lnTo>
                    <a:pt x="3322599" y="916979"/>
                  </a:lnTo>
                  <a:lnTo>
                    <a:pt x="3041704" y="1403366"/>
                  </a:lnTo>
                  <a:lnTo>
                    <a:pt x="2481187" y="1403366"/>
                  </a:lnTo>
                  <a:lnTo>
                    <a:pt x="2200569" y="917422"/>
                  </a:lnTo>
                  <a:lnTo>
                    <a:pt x="2481021" y="431534"/>
                  </a:lnTo>
                  <a:close/>
                  <a:moveTo>
                    <a:pt x="4754335" y="431534"/>
                  </a:moveTo>
                  <a:lnTo>
                    <a:pt x="5034898" y="917477"/>
                  </a:lnTo>
                  <a:lnTo>
                    <a:pt x="4754169" y="1403366"/>
                  </a:lnTo>
                  <a:lnTo>
                    <a:pt x="4193043" y="1403366"/>
                  </a:lnTo>
                  <a:lnTo>
                    <a:pt x="3912701" y="917810"/>
                  </a:lnTo>
                  <a:lnTo>
                    <a:pt x="4193541" y="431534"/>
                  </a:lnTo>
                  <a:close/>
                  <a:moveTo>
                    <a:pt x="6467243" y="431090"/>
                  </a:moveTo>
                  <a:lnTo>
                    <a:pt x="6747695" y="916979"/>
                  </a:lnTo>
                  <a:lnTo>
                    <a:pt x="6693400" y="1011054"/>
                  </a:lnTo>
                  <a:lnTo>
                    <a:pt x="6467077" y="1403033"/>
                  </a:lnTo>
                  <a:lnTo>
                    <a:pt x="5905729" y="1403033"/>
                  </a:lnTo>
                  <a:lnTo>
                    <a:pt x="5625166" y="916979"/>
                  </a:lnTo>
                  <a:lnTo>
                    <a:pt x="5905674" y="431090"/>
                  </a:lnTo>
                  <a:close/>
                  <a:moveTo>
                    <a:pt x="8179874" y="431035"/>
                  </a:moveTo>
                  <a:lnTo>
                    <a:pt x="8460326" y="916812"/>
                  </a:lnTo>
                  <a:lnTo>
                    <a:pt x="8179818" y="1402867"/>
                  </a:lnTo>
                  <a:lnTo>
                    <a:pt x="7618582" y="1402867"/>
                  </a:lnTo>
                  <a:lnTo>
                    <a:pt x="7337963" y="916812"/>
                  </a:lnTo>
                  <a:lnTo>
                    <a:pt x="7618471" y="431035"/>
                  </a:lnTo>
                  <a:close/>
                  <a:moveTo>
                    <a:pt x="9892505" y="430592"/>
                  </a:moveTo>
                  <a:lnTo>
                    <a:pt x="10173123" y="916536"/>
                  </a:lnTo>
                  <a:lnTo>
                    <a:pt x="9892560" y="1402534"/>
                  </a:lnTo>
                  <a:lnTo>
                    <a:pt x="9331323" y="1402534"/>
                  </a:lnTo>
                  <a:lnTo>
                    <a:pt x="9050650" y="916424"/>
                  </a:lnTo>
                  <a:lnTo>
                    <a:pt x="9331157" y="430592"/>
                  </a:lnTo>
                  <a:close/>
                  <a:moveTo>
                    <a:pt x="11863054" y="0"/>
                  </a:moveTo>
                  <a:lnTo>
                    <a:pt x="11843939" y="0"/>
                  </a:lnTo>
                  <a:lnTo>
                    <a:pt x="11604970" y="413916"/>
                  </a:lnTo>
                  <a:lnTo>
                    <a:pt x="11043788" y="413916"/>
                  </a:lnTo>
                  <a:lnTo>
                    <a:pt x="10804853" y="0"/>
                  </a:lnTo>
                  <a:lnTo>
                    <a:pt x="10785529" y="0"/>
                  </a:lnTo>
                  <a:lnTo>
                    <a:pt x="11029217" y="422170"/>
                  </a:lnTo>
                  <a:lnTo>
                    <a:pt x="10748654" y="908114"/>
                  </a:lnTo>
                  <a:lnTo>
                    <a:pt x="10187639" y="908114"/>
                  </a:lnTo>
                  <a:lnTo>
                    <a:pt x="9906965" y="421949"/>
                  </a:lnTo>
                  <a:lnTo>
                    <a:pt x="10150539" y="0"/>
                  </a:lnTo>
                  <a:lnTo>
                    <a:pt x="10131190" y="0"/>
                  </a:lnTo>
                  <a:lnTo>
                    <a:pt x="9892339" y="413638"/>
                  </a:lnTo>
                  <a:lnTo>
                    <a:pt x="9330991" y="413638"/>
                  </a:lnTo>
                  <a:lnTo>
                    <a:pt x="9092139" y="0"/>
                  </a:lnTo>
                  <a:lnTo>
                    <a:pt x="9072826" y="0"/>
                  </a:lnTo>
                  <a:lnTo>
                    <a:pt x="9316642" y="422392"/>
                  </a:lnTo>
                  <a:lnTo>
                    <a:pt x="9036189" y="908170"/>
                  </a:lnTo>
                  <a:lnTo>
                    <a:pt x="8474731" y="908170"/>
                  </a:lnTo>
                  <a:lnTo>
                    <a:pt x="8194168" y="422503"/>
                  </a:lnTo>
                  <a:lnTo>
                    <a:pt x="8438136" y="0"/>
                  </a:lnTo>
                  <a:lnTo>
                    <a:pt x="8418811" y="0"/>
                  </a:lnTo>
                  <a:lnTo>
                    <a:pt x="8179597" y="414303"/>
                  </a:lnTo>
                  <a:lnTo>
                    <a:pt x="7618582" y="414303"/>
                  </a:lnTo>
                  <a:lnTo>
                    <a:pt x="7379274" y="0"/>
                  </a:lnTo>
                  <a:lnTo>
                    <a:pt x="7359940" y="0"/>
                  </a:lnTo>
                  <a:lnTo>
                    <a:pt x="7603955" y="422558"/>
                  </a:lnTo>
                  <a:lnTo>
                    <a:pt x="7323337" y="908447"/>
                  </a:lnTo>
                  <a:lnTo>
                    <a:pt x="6762100" y="908447"/>
                  </a:lnTo>
                  <a:lnTo>
                    <a:pt x="6481482" y="422503"/>
                  </a:lnTo>
                  <a:lnTo>
                    <a:pt x="6725445" y="0"/>
                  </a:lnTo>
                  <a:lnTo>
                    <a:pt x="6706132" y="0"/>
                  </a:lnTo>
                  <a:lnTo>
                    <a:pt x="6466910" y="414303"/>
                  </a:lnTo>
                  <a:lnTo>
                    <a:pt x="5905508" y="414303"/>
                  </a:lnTo>
                  <a:lnTo>
                    <a:pt x="5666338" y="0"/>
                  </a:lnTo>
                  <a:lnTo>
                    <a:pt x="5646974" y="0"/>
                  </a:lnTo>
                  <a:lnTo>
                    <a:pt x="5891214" y="422946"/>
                  </a:lnTo>
                  <a:lnTo>
                    <a:pt x="5618463" y="895261"/>
                  </a:lnTo>
                  <a:lnTo>
                    <a:pt x="5610706" y="908835"/>
                  </a:lnTo>
                  <a:lnTo>
                    <a:pt x="5049192" y="908835"/>
                  </a:lnTo>
                  <a:lnTo>
                    <a:pt x="4769017" y="423556"/>
                  </a:lnTo>
                  <a:lnTo>
                    <a:pt x="5013591" y="0"/>
                  </a:lnTo>
                  <a:lnTo>
                    <a:pt x="4993649" y="0"/>
                  </a:lnTo>
                  <a:lnTo>
                    <a:pt x="4754058" y="414857"/>
                  </a:lnTo>
                  <a:lnTo>
                    <a:pt x="4193652" y="414857"/>
                  </a:lnTo>
                  <a:lnTo>
                    <a:pt x="3954146" y="0"/>
                  </a:lnTo>
                  <a:lnTo>
                    <a:pt x="3934827" y="0"/>
                  </a:lnTo>
                  <a:lnTo>
                    <a:pt x="4178860" y="422669"/>
                  </a:lnTo>
                  <a:lnTo>
                    <a:pt x="3898186" y="909056"/>
                  </a:lnTo>
                  <a:lnTo>
                    <a:pt x="3337503" y="909056"/>
                  </a:lnTo>
                  <a:lnTo>
                    <a:pt x="3056829" y="422946"/>
                  </a:lnTo>
                  <a:lnTo>
                    <a:pt x="3300979" y="0"/>
                  </a:lnTo>
                  <a:lnTo>
                    <a:pt x="3281513" y="0"/>
                  </a:lnTo>
                  <a:lnTo>
                    <a:pt x="3042203" y="414691"/>
                  </a:lnTo>
                  <a:lnTo>
                    <a:pt x="2480855" y="414691"/>
                  </a:lnTo>
                  <a:lnTo>
                    <a:pt x="2241403" y="0"/>
                  </a:lnTo>
                  <a:lnTo>
                    <a:pt x="2222087" y="0"/>
                  </a:lnTo>
                  <a:lnTo>
                    <a:pt x="2466505" y="423389"/>
                  </a:lnTo>
                  <a:lnTo>
                    <a:pt x="2214697" y="859580"/>
                  </a:lnTo>
                  <a:lnTo>
                    <a:pt x="2186053" y="909278"/>
                  </a:lnTo>
                  <a:lnTo>
                    <a:pt x="1624539" y="909278"/>
                  </a:lnTo>
                  <a:lnTo>
                    <a:pt x="1344087" y="423445"/>
                  </a:lnTo>
                  <a:lnTo>
                    <a:pt x="1588559" y="0"/>
                  </a:lnTo>
                  <a:lnTo>
                    <a:pt x="1569223" y="0"/>
                  </a:lnTo>
                  <a:lnTo>
                    <a:pt x="1329461" y="415301"/>
                  </a:lnTo>
                  <a:lnTo>
                    <a:pt x="768446" y="415301"/>
                  </a:lnTo>
                  <a:lnTo>
                    <a:pt x="528589" y="0"/>
                  </a:lnTo>
                  <a:lnTo>
                    <a:pt x="509180" y="0"/>
                  </a:lnTo>
                  <a:lnTo>
                    <a:pt x="753764" y="423667"/>
                  </a:lnTo>
                  <a:lnTo>
                    <a:pt x="473201" y="909444"/>
                  </a:lnTo>
                  <a:lnTo>
                    <a:pt x="0" y="909444"/>
                  </a:lnTo>
                  <a:lnTo>
                    <a:pt x="0" y="926120"/>
                  </a:lnTo>
                  <a:lnTo>
                    <a:pt x="473201" y="926120"/>
                  </a:lnTo>
                  <a:lnTo>
                    <a:pt x="754041" y="1412285"/>
                  </a:lnTo>
                  <a:lnTo>
                    <a:pt x="473533" y="1898063"/>
                  </a:lnTo>
                  <a:lnTo>
                    <a:pt x="0" y="1898063"/>
                  </a:lnTo>
                  <a:lnTo>
                    <a:pt x="0" y="1914850"/>
                  </a:lnTo>
                  <a:lnTo>
                    <a:pt x="473533" y="1914850"/>
                  </a:lnTo>
                  <a:lnTo>
                    <a:pt x="753875" y="2400517"/>
                  </a:lnTo>
                  <a:lnTo>
                    <a:pt x="473201" y="2886737"/>
                  </a:lnTo>
                  <a:lnTo>
                    <a:pt x="0" y="2886737"/>
                  </a:lnTo>
                  <a:lnTo>
                    <a:pt x="0" y="2903414"/>
                  </a:lnTo>
                  <a:lnTo>
                    <a:pt x="472924" y="2903414"/>
                  </a:lnTo>
                  <a:lnTo>
                    <a:pt x="753597" y="3389579"/>
                  </a:lnTo>
                  <a:lnTo>
                    <a:pt x="473201" y="3875245"/>
                  </a:lnTo>
                  <a:lnTo>
                    <a:pt x="0" y="3875245"/>
                  </a:lnTo>
                  <a:lnTo>
                    <a:pt x="0" y="3892032"/>
                  </a:lnTo>
                  <a:lnTo>
                    <a:pt x="473367" y="3892032"/>
                  </a:lnTo>
                  <a:lnTo>
                    <a:pt x="753875" y="4377921"/>
                  </a:lnTo>
                  <a:lnTo>
                    <a:pt x="473201" y="4863975"/>
                  </a:lnTo>
                  <a:lnTo>
                    <a:pt x="0" y="4863975"/>
                  </a:lnTo>
                  <a:lnTo>
                    <a:pt x="0" y="4880651"/>
                  </a:lnTo>
                  <a:lnTo>
                    <a:pt x="473422" y="4880651"/>
                  </a:lnTo>
                  <a:lnTo>
                    <a:pt x="754041" y="5366650"/>
                  </a:lnTo>
                  <a:lnTo>
                    <a:pt x="473478" y="5852538"/>
                  </a:lnTo>
                  <a:lnTo>
                    <a:pt x="0" y="5852538"/>
                  </a:lnTo>
                  <a:lnTo>
                    <a:pt x="0" y="5869436"/>
                  </a:lnTo>
                  <a:lnTo>
                    <a:pt x="473699" y="5869436"/>
                  </a:lnTo>
                  <a:lnTo>
                    <a:pt x="754262" y="6355158"/>
                  </a:lnTo>
                  <a:lnTo>
                    <a:pt x="473644" y="6841324"/>
                  </a:lnTo>
                  <a:lnTo>
                    <a:pt x="0" y="6841324"/>
                  </a:lnTo>
                  <a:lnTo>
                    <a:pt x="0" y="6858000"/>
                  </a:lnTo>
                  <a:lnTo>
                    <a:pt x="483173" y="6858000"/>
                  </a:lnTo>
                  <a:lnTo>
                    <a:pt x="773377" y="6355214"/>
                  </a:lnTo>
                  <a:lnTo>
                    <a:pt x="487938" y="5860849"/>
                  </a:lnTo>
                  <a:lnTo>
                    <a:pt x="773266" y="5366761"/>
                  </a:lnTo>
                  <a:lnTo>
                    <a:pt x="487716" y="4872175"/>
                  </a:lnTo>
                  <a:lnTo>
                    <a:pt x="773099" y="4378031"/>
                  </a:lnTo>
                  <a:lnTo>
                    <a:pt x="487606" y="3883611"/>
                  </a:lnTo>
                  <a:lnTo>
                    <a:pt x="768002" y="3398111"/>
                  </a:lnTo>
                  <a:lnTo>
                    <a:pt x="1338990" y="3398111"/>
                  </a:lnTo>
                  <a:lnTo>
                    <a:pt x="1624539" y="2903469"/>
                  </a:lnTo>
                  <a:lnTo>
                    <a:pt x="2185943" y="2903469"/>
                  </a:lnTo>
                  <a:lnTo>
                    <a:pt x="2466505" y="3389246"/>
                  </a:lnTo>
                  <a:lnTo>
                    <a:pt x="2185887" y="3875245"/>
                  </a:lnTo>
                  <a:lnTo>
                    <a:pt x="1615010" y="3875245"/>
                  </a:lnTo>
                  <a:lnTo>
                    <a:pt x="1324807" y="4378031"/>
                  </a:lnTo>
                  <a:lnTo>
                    <a:pt x="1610245" y="4872396"/>
                  </a:lnTo>
                  <a:lnTo>
                    <a:pt x="1324973" y="5366595"/>
                  </a:lnTo>
                  <a:lnTo>
                    <a:pt x="1615232" y="5869215"/>
                  </a:lnTo>
                  <a:lnTo>
                    <a:pt x="2195693" y="5869215"/>
                  </a:lnTo>
                  <a:lnTo>
                    <a:pt x="2485952" y="5366539"/>
                  </a:lnTo>
                  <a:lnTo>
                    <a:pt x="2200403" y="4872064"/>
                  </a:lnTo>
                  <a:lnTo>
                    <a:pt x="2481021" y="4386120"/>
                  </a:lnTo>
                  <a:lnTo>
                    <a:pt x="3042369" y="4386120"/>
                  </a:lnTo>
                  <a:lnTo>
                    <a:pt x="3327641" y="4880263"/>
                  </a:lnTo>
                  <a:lnTo>
                    <a:pt x="3908214" y="4880263"/>
                  </a:lnTo>
                  <a:lnTo>
                    <a:pt x="4193541" y="4386120"/>
                  </a:lnTo>
                  <a:lnTo>
                    <a:pt x="4764474" y="4386120"/>
                  </a:lnTo>
                  <a:lnTo>
                    <a:pt x="5050023" y="3891478"/>
                  </a:lnTo>
                  <a:lnTo>
                    <a:pt x="5620734" y="3891478"/>
                  </a:lnTo>
                  <a:lnTo>
                    <a:pt x="5906173" y="3396948"/>
                  </a:lnTo>
                  <a:lnTo>
                    <a:pt x="6476938" y="3396948"/>
                  </a:lnTo>
                  <a:lnTo>
                    <a:pt x="6762488" y="2902416"/>
                  </a:lnTo>
                  <a:lnTo>
                    <a:pt x="7333199" y="2902416"/>
                  </a:lnTo>
                  <a:lnTo>
                    <a:pt x="7618637" y="2408218"/>
                  </a:lnTo>
                  <a:lnTo>
                    <a:pt x="8189569" y="2408218"/>
                  </a:lnTo>
                  <a:lnTo>
                    <a:pt x="8475063" y="1913631"/>
                  </a:lnTo>
                  <a:lnTo>
                    <a:pt x="9045830" y="1913631"/>
                  </a:lnTo>
                  <a:lnTo>
                    <a:pt x="9331379" y="1419100"/>
                  </a:lnTo>
                  <a:lnTo>
                    <a:pt x="9902145" y="1419100"/>
                  </a:lnTo>
                  <a:lnTo>
                    <a:pt x="10187584" y="924680"/>
                  </a:lnTo>
                  <a:lnTo>
                    <a:pt x="10758184" y="924680"/>
                  </a:lnTo>
                  <a:lnTo>
                    <a:pt x="11043511" y="430537"/>
                  </a:lnTo>
                  <a:lnTo>
                    <a:pt x="11614444" y="430537"/>
                  </a:lnTo>
                  <a:close/>
                </a:path>
              </a:pathLst>
            </a:custGeom>
            <a:solidFill>
              <a:srgbClr val="B2B2B2">
                <a:alpha val="1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9" name="Picture 19" descr="Gavi-logo - The Rockefeller Foundation">
            <a:extLst>
              <a:ext uri="{FF2B5EF4-FFF2-40B4-BE49-F238E27FC236}">
                <a16:creationId xmlns:a16="http://schemas.microsoft.com/office/drawing/2014/main" id="{344CFC41-0FC4-4E79-AD13-21411F6B79B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945"/>
          <a:stretch/>
        </p:blipFill>
        <p:spPr bwMode="ltGray">
          <a:xfrm>
            <a:off x="525802" y="2586861"/>
            <a:ext cx="1525462" cy="56669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World Health Organization (WHO) – Logos Download">
            <a:extLst>
              <a:ext uri="{FF2B5EF4-FFF2-40B4-BE49-F238E27FC236}">
                <a16:creationId xmlns:a16="http://schemas.microsoft.com/office/drawing/2014/main" id="{6B9B686F-C919-48C3-8CFD-4F800B703A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533703" y="2578553"/>
            <a:ext cx="2135706" cy="6301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F94A8244-5EF7-4001-9115-069A288508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2" y="1783462"/>
            <a:ext cx="1354280" cy="3981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9" descr="Gavi-logo - The Rockefeller Foundation">
            <a:extLst>
              <a:ext uri="{FF2B5EF4-FFF2-40B4-BE49-F238E27FC236}">
                <a16:creationId xmlns:a16="http://schemas.microsoft.com/office/drawing/2014/main" id="{FD11B72A-63E0-47FB-A675-254CBD0D8C7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92" r="-945"/>
          <a:stretch/>
        </p:blipFill>
        <p:spPr bwMode="ltGray">
          <a:xfrm>
            <a:off x="1441450" y="2586861"/>
            <a:ext cx="609814" cy="56669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Documenttype">
            <a:extLst>
              <a:ext uri="{FF2B5EF4-FFF2-40B4-BE49-F238E27FC236}">
                <a16:creationId xmlns:a16="http://schemas.microsoft.com/office/drawing/2014/main" id="{3EE52C29-C02D-4128-8EC4-D7704F53266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2" y="6312004"/>
            <a:ext cx="66031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44" name="Subtitle">
            <a:extLst>
              <a:ext uri="{FF2B5EF4-FFF2-40B4-BE49-F238E27FC236}">
                <a16:creationId xmlns:a16="http://schemas.microsoft.com/office/drawing/2014/main" id="{F6D9F1C3-5681-45D6-87C2-9A221364105B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2" y="5901632"/>
            <a:ext cx="66031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45" name="Title">
            <a:extLst>
              <a:ext uri="{FF2B5EF4-FFF2-40B4-BE49-F238E27FC236}">
                <a16:creationId xmlns:a16="http://schemas.microsoft.com/office/drawing/2014/main" id="{B2E3D185-964C-4514-8A5D-8FCCD3C0719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2" y="3952377"/>
            <a:ext cx="6603131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51321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3610461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6111073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44334"/>
            <a:ext cx="5065776" cy="369332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6698392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9981888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7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5996205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9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4AFC4A7-CBA9-4D87-8438-95ED6B3C26BB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88896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5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C166EA6-5E25-4151-837E-F75A70044612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83011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69332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D8492ED-2246-4637-A390-05F7DB9652B4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89501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6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369332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A90FA49-CD3D-4B98-B8A0-2E42F6A508CF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8973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7D0C755-088E-4CCC-80FC-EAEF790C35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89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9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69332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C1B847F-A11D-4151-9866-F9B4B9A3C34F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noProof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noProof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156273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C6088CA-F772-4B7C-8C2C-82C720809BFE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47003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3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527C4A5-CF2F-4953-9FD6-E2857B379FFD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44558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9" descr="Gavi-logo - The Rockefeller Foundation">
            <a:extLst>
              <a:ext uri="{FF2B5EF4-FFF2-40B4-BE49-F238E27FC236}">
                <a16:creationId xmlns:a16="http://schemas.microsoft.com/office/drawing/2014/main" id="{C9786BEA-06CF-48F5-A6AF-549FAA7183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508" y="3092839"/>
            <a:ext cx="1792858" cy="672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6" name="Picture 19" descr="Gavi-logo - The Rockefeller Foundation">
            <a:extLst>
              <a:ext uri="{FF2B5EF4-FFF2-40B4-BE49-F238E27FC236}">
                <a16:creationId xmlns:a16="http://schemas.microsoft.com/office/drawing/2014/main" id="{1543EE4E-EAB2-48E0-98C7-1CDE1C0CCC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17"/>
          <a:stretch/>
        </p:blipFill>
        <p:spPr bwMode="auto">
          <a:xfrm>
            <a:off x="5886450" y="3092839"/>
            <a:ext cx="698916" cy="672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World Health Organization (WHO) – Logos Download">
            <a:extLst>
              <a:ext uri="{FF2B5EF4-FFF2-40B4-BE49-F238E27FC236}">
                <a16:creationId xmlns:a16="http://schemas.microsoft.com/office/drawing/2014/main" id="{06238B73-8D67-4881-A186-5A67D0411C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557" y="3068149"/>
            <a:ext cx="2446020" cy="72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7852C685-149A-43D1-8B7E-790BE60CE4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1423" y="3189112"/>
            <a:ext cx="1631894" cy="479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91768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1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1">
            <a:extLst>
              <a:ext uri="{FF2B5EF4-FFF2-40B4-BE49-F238E27FC236}">
                <a16:creationId xmlns:a16="http://schemas.microsoft.com/office/drawing/2014/main" id="{A1A028A7-4594-434B-BE6F-BEA80B344467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pic>
        <p:nvPicPr>
          <p:cNvPr id="28" name="Picture 27" descr="World Health Organization (WHO) – Logos Download">
            <a:extLst>
              <a:ext uri="{FF2B5EF4-FFF2-40B4-BE49-F238E27FC236}">
                <a16:creationId xmlns:a16="http://schemas.microsoft.com/office/drawing/2014/main" id="{73C44A5D-E65B-4EA7-A8DE-923C1E1D2E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1" y="651284"/>
            <a:ext cx="2241464" cy="6613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79028CEE-2D24-4687-A0D5-F56AB2C502E7}"/>
              </a:ext>
            </a:extLst>
          </p:cNvPr>
          <p:cNvSpPr/>
          <p:nvPr userDrawn="1"/>
        </p:nvSpPr>
        <p:spPr bwMode="ltGray">
          <a:xfrm flipH="1" flipV="1">
            <a:off x="7366000" y="0"/>
            <a:ext cx="4826000" cy="4826000"/>
          </a:xfrm>
          <a:prstGeom prst="rtTriangle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DCB4FFCD-79D8-42F6-A6E0-BBB1AEBD54DD}"/>
              </a:ext>
            </a:extLst>
          </p:cNvPr>
          <p:cNvSpPr/>
          <p:nvPr userDrawn="1"/>
        </p:nvSpPr>
        <p:spPr bwMode="ltGray">
          <a:xfrm flipH="1" flipV="1">
            <a:off x="7532005" y="0"/>
            <a:ext cx="4659995" cy="4659995"/>
          </a:xfrm>
          <a:prstGeom prst="rtTriangle">
            <a:avLst/>
          </a:prstGeom>
          <a:solidFill>
            <a:srgbClr val="4D4D4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Right Triangle 31">
            <a:extLst>
              <a:ext uri="{FF2B5EF4-FFF2-40B4-BE49-F238E27FC236}">
                <a16:creationId xmlns:a16="http://schemas.microsoft.com/office/drawing/2014/main" id="{452C86B2-6A22-4FFD-B37E-8B8AAD682D4E}"/>
              </a:ext>
            </a:extLst>
          </p:cNvPr>
          <p:cNvSpPr/>
          <p:nvPr userDrawn="1"/>
        </p:nvSpPr>
        <p:spPr bwMode="ltGray">
          <a:xfrm>
            <a:off x="0" y="5003800"/>
            <a:ext cx="1854200" cy="1854200"/>
          </a:xfrm>
          <a:prstGeom prst="rtTriangl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1" y="4648511"/>
            <a:ext cx="81779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1" y="4150556"/>
            <a:ext cx="81779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1" y="2113720"/>
            <a:ext cx="8177931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97043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Rectangle 1">
            <a:extLst>
              <a:ext uri="{FF2B5EF4-FFF2-40B4-BE49-F238E27FC236}">
                <a16:creationId xmlns:a16="http://schemas.microsoft.com/office/drawing/2014/main" id="{8463E31F-1059-439D-81D0-6D61D7EE8E0F}"/>
              </a:ext>
            </a:extLst>
          </p:cNvPr>
          <p:cNvGrpSpPr/>
          <p:nvPr userDrawn="1"/>
        </p:nvGrpSpPr>
        <p:grpSpPr bwMode="lt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5" name="Rectangle 1">
              <a:extLst>
                <a:ext uri="{FF2B5EF4-FFF2-40B4-BE49-F238E27FC236}">
                  <a16:creationId xmlns:a16="http://schemas.microsoft.com/office/drawing/2014/main" id="{E12DE207-12CB-4F2F-B60B-B99BE889F95B}"/>
                </a:ext>
              </a:extLst>
            </p:cNvPr>
            <p:cNvSpPr/>
            <p:nvPr/>
          </p:nvSpPr>
          <p:spPr bwMode="ltGray"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600">
                <a:solidFill>
                  <a:schemeClr val="tx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E3816EB-3EEB-4E3B-97BF-685C6980D507}"/>
                </a:ext>
              </a:extLst>
            </p:cNvPr>
            <p:cNvSpPr/>
            <p:nvPr/>
          </p:nvSpPr>
          <p:spPr bwMode="ltGray">
            <a:xfrm flipH="1">
              <a:off x="328939" y="0"/>
              <a:ext cx="11863054" cy="6858000"/>
            </a:xfrm>
            <a:custGeom>
              <a:avLst/>
              <a:gdLst>
                <a:gd name="connsiteX0" fmla="*/ 2186275 w 11863054"/>
                <a:gd name="connsiteY0" fmla="*/ 4880651 h 6858000"/>
                <a:gd name="connsiteX1" fmla="*/ 2466727 w 11863054"/>
                <a:gd name="connsiteY1" fmla="*/ 5366539 h 6858000"/>
                <a:gd name="connsiteX2" fmla="*/ 2186109 w 11863054"/>
                <a:gd name="connsiteY2" fmla="*/ 5852538 h 6858000"/>
                <a:gd name="connsiteX3" fmla="*/ 1624817 w 11863054"/>
                <a:gd name="connsiteY3" fmla="*/ 5852538 h 6858000"/>
                <a:gd name="connsiteX4" fmla="*/ 1344198 w 11863054"/>
                <a:gd name="connsiteY4" fmla="*/ 5366539 h 6858000"/>
                <a:gd name="connsiteX5" fmla="*/ 1624650 w 11863054"/>
                <a:gd name="connsiteY5" fmla="*/ 4880651 h 6858000"/>
                <a:gd name="connsiteX6" fmla="*/ 2185887 w 11863054"/>
                <a:gd name="connsiteY6" fmla="*/ 3891755 h 6858000"/>
                <a:gd name="connsiteX7" fmla="*/ 2466505 w 11863054"/>
                <a:gd name="connsiteY7" fmla="*/ 4377921 h 6858000"/>
                <a:gd name="connsiteX8" fmla="*/ 2186053 w 11863054"/>
                <a:gd name="connsiteY8" fmla="*/ 4863753 h 6858000"/>
                <a:gd name="connsiteX9" fmla="*/ 1624539 w 11863054"/>
                <a:gd name="connsiteY9" fmla="*/ 4863753 h 6858000"/>
                <a:gd name="connsiteX10" fmla="*/ 1343977 w 11863054"/>
                <a:gd name="connsiteY10" fmla="*/ 4377921 h 6858000"/>
                <a:gd name="connsiteX11" fmla="*/ 1624650 w 11863054"/>
                <a:gd name="connsiteY11" fmla="*/ 3891755 h 6858000"/>
                <a:gd name="connsiteX12" fmla="*/ 3898518 w 11863054"/>
                <a:gd name="connsiteY12" fmla="*/ 3891700 h 6858000"/>
                <a:gd name="connsiteX13" fmla="*/ 4179137 w 11863054"/>
                <a:gd name="connsiteY13" fmla="*/ 4377644 h 6858000"/>
                <a:gd name="connsiteX14" fmla="*/ 3898518 w 11863054"/>
                <a:gd name="connsiteY14" fmla="*/ 4863642 h 6858000"/>
                <a:gd name="connsiteX15" fmla="*/ 3337226 w 11863054"/>
                <a:gd name="connsiteY15" fmla="*/ 4863642 h 6858000"/>
                <a:gd name="connsiteX16" fmla="*/ 3056718 w 11863054"/>
                <a:gd name="connsiteY16" fmla="*/ 4377644 h 6858000"/>
                <a:gd name="connsiteX17" fmla="*/ 3337337 w 11863054"/>
                <a:gd name="connsiteY17" fmla="*/ 3891700 h 6858000"/>
                <a:gd name="connsiteX18" fmla="*/ 4755000 w 11863054"/>
                <a:gd name="connsiteY18" fmla="*/ 3397502 h 6858000"/>
                <a:gd name="connsiteX19" fmla="*/ 5035508 w 11863054"/>
                <a:gd name="connsiteY19" fmla="*/ 3883389 h 6858000"/>
                <a:gd name="connsiteX20" fmla="*/ 4754778 w 11863054"/>
                <a:gd name="connsiteY20" fmla="*/ 4369444 h 6858000"/>
                <a:gd name="connsiteX21" fmla="*/ 4193652 w 11863054"/>
                <a:gd name="connsiteY21" fmla="*/ 4369444 h 6858000"/>
                <a:gd name="connsiteX22" fmla="*/ 3912978 w 11863054"/>
                <a:gd name="connsiteY22" fmla="*/ 3883223 h 6858000"/>
                <a:gd name="connsiteX23" fmla="*/ 4193541 w 11863054"/>
                <a:gd name="connsiteY23" fmla="*/ 3397502 h 6858000"/>
                <a:gd name="connsiteX24" fmla="*/ 3042147 w 11863054"/>
                <a:gd name="connsiteY24" fmla="*/ 3397391 h 6858000"/>
                <a:gd name="connsiteX25" fmla="*/ 3322710 w 11863054"/>
                <a:gd name="connsiteY25" fmla="*/ 3883389 h 6858000"/>
                <a:gd name="connsiteX26" fmla="*/ 3042147 w 11863054"/>
                <a:gd name="connsiteY26" fmla="*/ 4369444 h 6858000"/>
                <a:gd name="connsiteX27" fmla="*/ 2480966 w 11863054"/>
                <a:gd name="connsiteY27" fmla="*/ 4369444 h 6858000"/>
                <a:gd name="connsiteX28" fmla="*/ 2200292 w 11863054"/>
                <a:gd name="connsiteY28" fmla="*/ 3883389 h 6858000"/>
                <a:gd name="connsiteX29" fmla="*/ 2480911 w 11863054"/>
                <a:gd name="connsiteY29" fmla="*/ 3397391 h 6858000"/>
                <a:gd name="connsiteX30" fmla="*/ 3898186 w 11863054"/>
                <a:gd name="connsiteY30" fmla="*/ 2902970 h 6858000"/>
                <a:gd name="connsiteX31" fmla="*/ 4178860 w 11863054"/>
                <a:gd name="connsiteY31" fmla="*/ 3389136 h 6858000"/>
                <a:gd name="connsiteX32" fmla="*/ 3898463 w 11863054"/>
                <a:gd name="connsiteY32" fmla="*/ 3874857 h 6858000"/>
                <a:gd name="connsiteX33" fmla="*/ 3337115 w 11863054"/>
                <a:gd name="connsiteY33" fmla="*/ 3874857 h 6858000"/>
                <a:gd name="connsiteX34" fmla="*/ 3056607 w 11863054"/>
                <a:gd name="connsiteY34" fmla="*/ 3388969 h 6858000"/>
                <a:gd name="connsiteX35" fmla="*/ 3337115 w 11863054"/>
                <a:gd name="connsiteY35" fmla="*/ 2902970 h 6858000"/>
                <a:gd name="connsiteX36" fmla="*/ 5611205 w 11863054"/>
                <a:gd name="connsiteY36" fmla="*/ 2902915 h 6858000"/>
                <a:gd name="connsiteX37" fmla="*/ 5891712 w 11863054"/>
                <a:gd name="connsiteY37" fmla="*/ 3388748 h 6858000"/>
                <a:gd name="connsiteX38" fmla="*/ 5611149 w 11863054"/>
                <a:gd name="connsiteY38" fmla="*/ 3874857 h 6858000"/>
                <a:gd name="connsiteX39" fmla="*/ 5049857 w 11863054"/>
                <a:gd name="connsiteY39" fmla="*/ 3874857 h 6858000"/>
                <a:gd name="connsiteX40" fmla="*/ 4769239 w 11863054"/>
                <a:gd name="connsiteY40" fmla="*/ 3388969 h 6858000"/>
                <a:gd name="connsiteX41" fmla="*/ 5049857 w 11863054"/>
                <a:gd name="connsiteY41" fmla="*/ 2902915 h 6858000"/>
                <a:gd name="connsiteX42" fmla="*/ 1329350 w 11863054"/>
                <a:gd name="connsiteY42" fmla="*/ 2409215 h 6858000"/>
                <a:gd name="connsiteX43" fmla="*/ 1609968 w 11863054"/>
                <a:gd name="connsiteY43" fmla="*/ 2895269 h 6858000"/>
                <a:gd name="connsiteX44" fmla="*/ 1329350 w 11863054"/>
                <a:gd name="connsiteY44" fmla="*/ 3381379 h 6858000"/>
                <a:gd name="connsiteX45" fmla="*/ 768224 w 11863054"/>
                <a:gd name="connsiteY45" fmla="*/ 3381379 h 6858000"/>
                <a:gd name="connsiteX46" fmla="*/ 487716 w 11863054"/>
                <a:gd name="connsiteY46" fmla="*/ 2895546 h 6858000"/>
                <a:gd name="connsiteX47" fmla="*/ 768501 w 11863054"/>
                <a:gd name="connsiteY47" fmla="*/ 2409215 h 6858000"/>
                <a:gd name="connsiteX48" fmla="*/ 3041981 w 11863054"/>
                <a:gd name="connsiteY48" fmla="*/ 2408883 h 6858000"/>
                <a:gd name="connsiteX49" fmla="*/ 3322599 w 11863054"/>
                <a:gd name="connsiteY49" fmla="*/ 2894826 h 6858000"/>
                <a:gd name="connsiteX50" fmla="*/ 3042092 w 11863054"/>
                <a:gd name="connsiteY50" fmla="*/ 3380714 h 6858000"/>
                <a:gd name="connsiteX51" fmla="*/ 2480855 w 11863054"/>
                <a:gd name="connsiteY51" fmla="*/ 3380714 h 6858000"/>
                <a:gd name="connsiteX52" fmla="*/ 2200126 w 11863054"/>
                <a:gd name="connsiteY52" fmla="*/ 2894715 h 6858000"/>
                <a:gd name="connsiteX53" fmla="*/ 2480689 w 11863054"/>
                <a:gd name="connsiteY53" fmla="*/ 2408883 h 6858000"/>
                <a:gd name="connsiteX54" fmla="*/ 4754612 w 11863054"/>
                <a:gd name="connsiteY54" fmla="*/ 2408827 h 6858000"/>
                <a:gd name="connsiteX55" fmla="*/ 5035231 w 11863054"/>
                <a:gd name="connsiteY55" fmla="*/ 2894715 h 6858000"/>
                <a:gd name="connsiteX56" fmla="*/ 4754612 w 11863054"/>
                <a:gd name="connsiteY56" fmla="*/ 3380714 h 6858000"/>
                <a:gd name="connsiteX57" fmla="*/ 4193375 w 11863054"/>
                <a:gd name="connsiteY57" fmla="*/ 3380714 h 6858000"/>
                <a:gd name="connsiteX58" fmla="*/ 3912757 w 11863054"/>
                <a:gd name="connsiteY58" fmla="*/ 2894715 h 6858000"/>
                <a:gd name="connsiteX59" fmla="*/ 4193320 w 11863054"/>
                <a:gd name="connsiteY59" fmla="*/ 2408827 h 6858000"/>
                <a:gd name="connsiteX60" fmla="*/ 6467576 w 11863054"/>
                <a:gd name="connsiteY60" fmla="*/ 2408384 h 6858000"/>
                <a:gd name="connsiteX61" fmla="*/ 6748083 w 11863054"/>
                <a:gd name="connsiteY61" fmla="*/ 2894217 h 6858000"/>
                <a:gd name="connsiteX62" fmla="*/ 6467409 w 11863054"/>
                <a:gd name="connsiteY62" fmla="*/ 3380326 h 6858000"/>
                <a:gd name="connsiteX63" fmla="*/ 5906173 w 11863054"/>
                <a:gd name="connsiteY63" fmla="*/ 3380326 h 6858000"/>
                <a:gd name="connsiteX64" fmla="*/ 5625554 w 11863054"/>
                <a:gd name="connsiteY64" fmla="*/ 2894272 h 6858000"/>
                <a:gd name="connsiteX65" fmla="*/ 5906006 w 11863054"/>
                <a:gd name="connsiteY65" fmla="*/ 2408384 h 6858000"/>
                <a:gd name="connsiteX66" fmla="*/ 2185610 w 11863054"/>
                <a:gd name="connsiteY66" fmla="*/ 1914628 h 6858000"/>
                <a:gd name="connsiteX67" fmla="*/ 2466229 w 11863054"/>
                <a:gd name="connsiteY67" fmla="*/ 2400572 h 6858000"/>
                <a:gd name="connsiteX68" fmla="*/ 2423402 w 11863054"/>
                <a:gd name="connsiteY68" fmla="*/ 2474702 h 6858000"/>
                <a:gd name="connsiteX69" fmla="*/ 2185555 w 11863054"/>
                <a:gd name="connsiteY69" fmla="*/ 2886737 h 6858000"/>
                <a:gd name="connsiteX70" fmla="*/ 1624318 w 11863054"/>
                <a:gd name="connsiteY70" fmla="*/ 2886737 h 6858000"/>
                <a:gd name="connsiteX71" fmla="*/ 1344087 w 11863054"/>
                <a:gd name="connsiteY71" fmla="*/ 2401292 h 6858000"/>
                <a:gd name="connsiteX72" fmla="*/ 1625093 w 11863054"/>
                <a:gd name="connsiteY72" fmla="*/ 1914628 h 6858000"/>
                <a:gd name="connsiteX73" fmla="*/ 3898186 w 11863054"/>
                <a:gd name="connsiteY73" fmla="*/ 1914462 h 6858000"/>
                <a:gd name="connsiteX74" fmla="*/ 4178804 w 11863054"/>
                <a:gd name="connsiteY74" fmla="*/ 2400461 h 6858000"/>
                <a:gd name="connsiteX75" fmla="*/ 3898241 w 11863054"/>
                <a:gd name="connsiteY75" fmla="*/ 2886349 h 6858000"/>
                <a:gd name="connsiteX76" fmla="*/ 3337115 w 11863054"/>
                <a:gd name="connsiteY76" fmla="*/ 2886349 h 6858000"/>
                <a:gd name="connsiteX77" fmla="*/ 3056441 w 11863054"/>
                <a:gd name="connsiteY77" fmla="*/ 2400295 h 6858000"/>
                <a:gd name="connsiteX78" fmla="*/ 3336949 w 11863054"/>
                <a:gd name="connsiteY78" fmla="*/ 1914462 h 6858000"/>
                <a:gd name="connsiteX79" fmla="*/ 5610872 w 11863054"/>
                <a:gd name="connsiteY79" fmla="*/ 1914185 h 6858000"/>
                <a:gd name="connsiteX80" fmla="*/ 5891491 w 11863054"/>
                <a:gd name="connsiteY80" fmla="*/ 2400240 h 6858000"/>
                <a:gd name="connsiteX81" fmla="*/ 5610983 w 11863054"/>
                <a:gd name="connsiteY81" fmla="*/ 2886072 h 6858000"/>
                <a:gd name="connsiteX82" fmla="*/ 5049469 w 11863054"/>
                <a:gd name="connsiteY82" fmla="*/ 2886072 h 6858000"/>
                <a:gd name="connsiteX83" fmla="*/ 4768962 w 11863054"/>
                <a:gd name="connsiteY83" fmla="*/ 2400295 h 6858000"/>
                <a:gd name="connsiteX84" fmla="*/ 5049635 w 11863054"/>
                <a:gd name="connsiteY84" fmla="*/ 1914185 h 6858000"/>
                <a:gd name="connsiteX85" fmla="*/ 7323669 w 11863054"/>
                <a:gd name="connsiteY85" fmla="*/ 1913853 h 6858000"/>
                <a:gd name="connsiteX86" fmla="*/ 7604232 w 11863054"/>
                <a:gd name="connsiteY86" fmla="*/ 2399852 h 6858000"/>
                <a:gd name="connsiteX87" fmla="*/ 7323669 w 11863054"/>
                <a:gd name="connsiteY87" fmla="*/ 2885740 h 6858000"/>
                <a:gd name="connsiteX88" fmla="*/ 6762377 w 11863054"/>
                <a:gd name="connsiteY88" fmla="*/ 2885740 h 6858000"/>
                <a:gd name="connsiteX89" fmla="*/ 6481870 w 11863054"/>
                <a:gd name="connsiteY89" fmla="*/ 2399741 h 6858000"/>
                <a:gd name="connsiteX90" fmla="*/ 6762322 w 11863054"/>
                <a:gd name="connsiteY90" fmla="*/ 1913853 h 6858000"/>
                <a:gd name="connsiteX91" fmla="*/ 1330015 w 11863054"/>
                <a:gd name="connsiteY91" fmla="*/ 1420652 h 6858000"/>
                <a:gd name="connsiteX92" fmla="*/ 1610135 w 11863054"/>
                <a:gd name="connsiteY92" fmla="*/ 1905930 h 6858000"/>
                <a:gd name="connsiteX93" fmla="*/ 1329073 w 11863054"/>
                <a:gd name="connsiteY93" fmla="*/ 2392594 h 6858000"/>
                <a:gd name="connsiteX94" fmla="*/ 768723 w 11863054"/>
                <a:gd name="connsiteY94" fmla="*/ 2392594 h 6858000"/>
                <a:gd name="connsiteX95" fmla="*/ 487993 w 11863054"/>
                <a:gd name="connsiteY95" fmla="*/ 1906429 h 6858000"/>
                <a:gd name="connsiteX96" fmla="*/ 768446 w 11863054"/>
                <a:gd name="connsiteY96" fmla="*/ 1420652 h 6858000"/>
                <a:gd name="connsiteX97" fmla="*/ 4754612 w 11863054"/>
                <a:gd name="connsiteY97" fmla="*/ 1420208 h 6858000"/>
                <a:gd name="connsiteX98" fmla="*/ 5035175 w 11863054"/>
                <a:gd name="connsiteY98" fmla="*/ 1906096 h 6858000"/>
                <a:gd name="connsiteX99" fmla="*/ 4754391 w 11863054"/>
                <a:gd name="connsiteY99" fmla="*/ 2392151 h 6858000"/>
                <a:gd name="connsiteX100" fmla="*/ 4193375 w 11863054"/>
                <a:gd name="connsiteY100" fmla="*/ 2392151 h 6858000"/>
                <a:gd name="connsiteX101" fmla="*/ 3912646 w 11863054"/>
                <a:gd name="connsiteY101" fmla="*/ 1905986 h 6858000"/>
                <a:gd name="connsiteX102" fmla="*/ 4193098 w 11863054"/>
                <a:gd name="connsiteY102" fmla="*/ 1420208 h 6858000"/>
                <a:gd name="connsiteX103" fmla="*/ 3041704 w 11863054"/>
                <a:gd name="connsiteY103" fmla="*/ 1420097 h 6858000"/>
                <a:gd name="connsiteX104" fmla="*/ 3322322 w 11863054"/>
                <a:gd name="connsiteY104" fmla="*/ 1906207 h 6858000"/>
                <a:gd name="connsiteX105" fmla="*/ 3041925 w 11863054"/>
                <a:gd name="connsiteY105" fmla="*/ 2391985 h 6858000"/>
                <a:gd name="connsiteX106" fmla="*/ 2480523 w 11863054"/>
                <a:gd name="connsiteY106" fmla="*/ 2391985 h 6858000"/>
                <a:gd name="connsiteX107" fmla="*/ 2200347 w 11863054"/>
                <a:gd name="connsiteY107" fmla="*/ 1906706 h 6858000"/>
                <a:gd name="connsiteX108" fmla="*/ 2481187 w 11863054"/>
                <a:gd name="connsiteY108" fmla="*/ 1420097 h 6858000"/>
                <a:gd name="connsiteX109" fmla="*/ 6467243 w 11863054"/>
                <a:gd name="connsiteY109" fmla="*/ 1419654 h 6858000"/>
                <a:gd name="connsiteX110" fmla="*/ 6747862 w 11863054"/>
                <a:gd name="connsiteY110" fmla="*/ 1905597 h 6858000"/>
                <a:gd name="connsiteX111" fmla="*/ 6467409 w 11863054"/>
                <a:gd name="connsiteY111" fmla="*/ 2391486 h 6858000"/>
                <a:gd name="connsiteX112" fmla="*/ 5905785 w 11863054"/>
                <a:gd name="connsiteY112" fmla="*/ 2391486 h 6858000"/>
                <a:gd name="connsiteX113" fmla="*/ 5625333 w 11863054"/>
                <a:gd name="connsiteY113" fmla="*/ 1905708 h 6858000"/>
                <a:gd name="connsiteX114" fmla="*/ 5735696 w 11863054"/>
                <a:gd name="connsiteY114" fmla="*/ 1714456 h 6858000"/>
                <a:gd name="connsiteX115" fmla="*/ 5905950 w 11863054"/>
                <a:gd name="connsiteY115" fmla="*/ 1419654 h 6858000"/>
                <a:gd name="connsiteX116" fmla="*/ 8180151 w 11863054"/>
                <a:gd name="connsiteY116" fmla="*/ 1419654 h 6858000"/>
                <a:gd name="connsiteX117" fmla="*/ 8460603 w 11863054"/>
                <a:gd name="connsiteY117" fmla="*/ 1905487 h 6858000"/>
                <a:gd name="connsiteX118" fmla="*/ 8179984 w 11863054"/>
                <a:gd name="connsiteY118" fmla="*/ 2391652 h 6858000"/>
                <a:gd name="connsiteX119" fmla="*/ 7618914 w 11863054"/>
                <a:gd name="connsiteY119" fmla="*/ 2391652 h 6858000"/>
                <a:gd name="connsiteX120" fmla="*/ 7338130 w 11863054"/>
                <a:gd name="connsiteY120" fmla="*/ 1905432 h 6858000"/>
                <a:gd name="connsiteX121" fmla="*/ 7618582 w 11863054"/>
                <a:gd name="connsiteY121" fmla="*/ 1419654 h 6858000"/>
                <a:gd name="connsiteX122" fmla="*/ 2186164 w 11863054"/>
                <a:gd name="connsiteY122" fmla="*/ 926120 h 6858000"/>
                <a:gd name="connsiteX123" fmla="*/ 2466395 w 11863054"/>
                <a:gd name="connsiteY123" fmla="*/ 1411344 h 6858000"/>
                <a:gd name="connsiteX124" fmla="*/ 2185555 w 11863054"/>
                <a:gd name="connsiteY124" fmla="*/ 1897952 h 6858000"/>
                <a:gd name="connsiteX125" fmla="*/ 1624817 w 11863054"/>
                <a:gd name="connsiteY125" fmla="*/ 1897952 h 6858000"/>
                <a:gd name="connsiteX126" fmla="*/ 1344253 w 11863054"/>
                <a:gd name="connsiteY126" fmla="*/ 1412064 h 6858000"/>
                <a:gd name="connsiteX127" fmla="*/ 1624817 w 11863054"/>
                <a:gd name="connsiteY127" fmla="*/ 926120 h 6858000"/>
                <a:gd name="connsiteX128" fmla="*/ 3897853 w 11863054"/>
                <a:gd name="connsiteY128" fmla="*/ 925677 h 6858000"/>
                <a:gd name="connsiteX129" fmla="*/ 4178583 w 11863054"/>
                <a:gd name="connsiteY129" fmla="*/ 1411842 h 6858000"/>
                <a:gd name="connsiteX130" fmla="*/ 3898186 w 11863054"/>
                <a:gd name="connsiteY130" fmla="*/ 1897620 h 6858000"/>
                <a:gd name="connsiteX131" fmla="*/ 3336838 w 11863054"/>
                <a:gd name="connsiteY131" fmla="*/ 1897620 h 6858000"/>
                <a:gd name="connsiteX132" fmla="*/ 3056607 w 11863054"/>
                <a:gd name="connsiteY132" fmla="*/ 1412174 h 6858000"/>
                <a:gd name="connsiteX133" fmla="*/ 3337503 w 11863054"/>
                <a:gd name="connsiteY133" fmla="*/ 925677 h 6858000"/>
                <a:gd name="connsiteX134" fmla="*/ 5610872 w 11863054"/>
                <a:gd name="connsiteY134" fmla="*/ 925622 h 6858000"/>
                <a:gd name="connsiteX135" fmla="*/ 5891380 w 11863054"/>
                <a:gd name="connsiteY135" fmla="*/ 1411455 h 6858000"/>
                <a:gd name="connsiteX136" fmla="*/ 5710376 w 11863054"/>
                <a:gd name="connsiteY136" fmla="*/ 1725093 h 6858000"/>
                <a:gd name="connsiteX137" fmla="*/ 5610761 w 11863054"/>
                <a:gd name="connsiteY137" fmla="*/ 1897453 h 6858000"/>
                <a:gd name="connsiteX138" fmla="*/ 5049414 w 11863054"/>
                <a:gd name="connsiteY138" fmla="*/ 1897453 h 6858000"/>
                <a:gd name="connsiteX139" fmla="*/ 4768851 w 11863054"/>
                <a:gd name="connsiteY139" fmla="*/ 1411565 h 6858000"/>
                <a:gd name="connsiteX140" fmla="*/ 5049469 w 11863054"/>
                <a:gd name="connsiteY140" fmla="*/ 925622 h 6858000"/>
                <a:gd name="connsiteX141" fmla="*/ 7323392 w 11863054"/>
                <a:gd name="connsiteY141" fmla="*/ 925123 h 6858000"/>
                <a:gd name="connsiteX142" fmla="*/ 7604121 w 11863054"/>
                <a:gd name="connsiteY142" fmla="*/ 1411344 h 6858000"/>
                <a:gd name="connsiteX143" fmla="*/ 7323558 w 11863054"/>
                <a:gd name="connsiteY143" fmla="*/ 1896955 h 6858000"/>
                <a:gd name="connsiteX144" fmla="*/ 6762100 w 11863054"/>
                <a:gd name="connsiteY144" fmla="*/ 1896955 h 6858000"/>
                <a:gd name="connsiteX145" fmla="*/ 6481537 w 11863054"/>
                <a:gd name="connsiteY145" fmla="*/ 1411178 h 6858000"/>
                <a:gd name="connsiteX146" fmla="*/ 6591069 w 11863054"/>
                <a:gd name="connsiteY146" fmla="*/ 1221532 h 6858000"/>
                <a:gd name="connsiteX147" fmla="*/ 6762266 w 11863054"/>
                <a:gd name="connsiteY147" fmla="*/ 925123 h 6858000"/>
                <a:gd name="connsiteX148" fmla="*/ 9036411 w 11863054"/>
                <a:gd name="connsiteY148" fmla="*/ 925068 h 6858000"/>
                <a:gd name="connsiteX149" fmla="*/ 9316919 w 11863054"/>
                <a:gd name="connsiteY149" fmla="*/ 1410955 h 6858000"/>
                <a:gd name="connsiteX150" fmla="*/ 9036245 w 11863054"/>
                <a:gd name="connsiteY150" fmla="*/ 1896955 h 6858000"/>
                <a:gd name="connsiteX151" fmla="*/ 8475008 w 11863054"/>
                <a:gd name="connsiteY151" fmla="*/ 1896955 h 6858000"/>
                <a:gd name="connsiteX152" fmla="*/ 8194389 w 11863054"/>
                <a:gd name="connsiteY152" fmla="*/ 1411066 h 6858000"/>
                <a:gd name="connsiteX153" fmla="*/ 8475008 w 11863054"/>
                <a:gd name="connsiteY153" fmla="*/ 925068 h 6858000"/>
                <a:gd name="connsiteX154" fmla="*/ 1329738 w 11863054"/>
                <a:gd name="connsiteY154" fmla="*/ 432032 h 6858000"/>
                <a:gd name="connsiteX155" fmla="*/ 1610245 w 11863054"/>
                <a:gd name="connsiteY155" fmla="*/ 917810 h 6858000"/>
                <a:gd name="connsiteX156" fmla="*/ 1329627 w 11863054"/>
                <a:gd name="connsiteY156" fmla="*/ 1403864 h 6858000"/>
                <a:gd name="connsiteX157" fmla="*/ 768446 w 11863054"/>
                <a:gd name="connsiteY157" fmla="*/ 1403864 h 6858000"/>
                <a:gd name="connsiteX158" fmla="*/ 487827 w 11863054"/>
                <a:gd name="connsiteY158" fmla="*/ 917810 h 6858000"/>
                <a:gd name="connsiteX159" fmla="*/ 768335 w 11863054"/>
                <a:gd name="connsiteY159" fmla="*/ 432032 h 6858000"/>
                <a:gd name="connsiteX160" fmla="*/ 3042369 w 11863054"/>
                <a:gd name="connsiteY160" fmla="*/ 431534 h 6858000"/>
                <a:gd name="connsiteX161" fmla="*/ 3322599 w 11863054"/>
                <a:gd name="connsiteY161" fmla="*/ 916979 h 6858000"/>
                <a:gd name="connsiteX162" fmla="*/ 3041704 w 11863054"/>
                <a:gd name="connsiteY162" fmla="*/ 1403366 h 6858000"/>
                <a:gd name="connsiteX163" fmla="*/ 2481187 w 11863054"/>
                <a:gd name="connsiteY163" fmla="*/ 1403366 h 6858000"/>
                <a:gd name="connsiteX164" fmla="*/ 2200569 w 11863054"/>
                <a:gd name="connsiteY164" fmla="*/ 917422 h 6858000"/>
                <a:gd name="connsiteX165" fmla="*/ 2481021 w 11863054"/>
                <a:gd name="connsiteY165" fmla="*/ 431534 h 6858000"/>
                <a:gd name="connsiteX166" fmla="*/ 4754335 w 11863054"/>
                <a:gd name="connsiteY166" fmla="*/ 431534 h 6858000"/>
                <a:gd name="connsiteX167" fmla="*/ 5034898 w 11863054"/>
                <a:gd name="connsiteY167" fmla="*/ 917477 h 6858000"/>
                <a:gd name="connsiteX168" fmla="*/ 4754169 w 11863054"/>
                <a:gd name="connsiteY168" fmla="*/ 1403366 h 6858000"/>
                <a:gd name="connsiteX169" fmla="*/ 4193043 w 11863054"/>
                <a:gd name="connsiteY169" fmla="*/ 1403366 h 6858000"/>
                <a:gd name="connsiteX170" fmla="*/ 3912701 w 11863054"/>
                <a:gd name="connsiteY170" fmla="*/ 917810 h 6858000"/>
                <a:gd name="connsiteX171" fmla="*/ 4193541 w 11863054"/>
                <a:gd name="connsiteY171" fmla="*/ 431534 h 6858000"/>
                <a:gd name="connsiteX172" fmla="*/ 6467243 w 11863054"/>
                <a:gd name="connsiteY172" fmla="*/ 431090 h 6858000"/>
                <a:gd name="connsiteX173" fmla="*/ 6747695 w 11863054"/>
                <a:gd name="connsiteY173" fmla="*/ 916979 h 6858000"/>
                <a:gd name="connsiteX174" fmla="*/ 6693400 w 11863054"/>
                <a:gd name="connsiteY174" fmla="*/ 1011054 h 6858000"/>
                <a:gd name="connsiteX175" fmla="*/ 6467077 w 11863054"/>
                <a:gd name="connsiteY175" fmla="*/ 1403033 h 6858000"/>
                <a:gd name="connsiteX176" fmla="*/ 5905729 w 11863054"/>
                <a:gd name="connsiteY176" fmla="*/ 1403033 h 6858000"/>
                <a:gd name="connsiteX177" fmla="*/ 5625166 w 11863054"/>
                <a:gd name="connsiteY177" fmla="*/ 916979 h 6858000"/>
                <a:gd name="connsiteX178" fmla="*/ 5905674 w 11863054"/>
                <a:gd name="connsiteY178" fmla="*/ 431090 h 6858000"/>
                <a:gd name="connsiteX179" fmla="*/ 8179874 w 11863054"/>
                <a:gd name="connsiteY179" fmla="*/ 431035 h 6858000"/>
                <a:gd name="connsiteX180" fmla="*/ 8460326 w 11863054"/>
                <a:gd name="connsiteY180" fmla="*/ 916812 h 6858000"/>
                <a:gd name="connsiteX181" fmla="*/ 8179818 w 11863054"/>
                <a:gd name="connsiteY181" fmla="*/ 1402867 h 6858000"/>
                <a:gd name="connsiteX182" fmla="*/ 7618582 w 11863054"/>
                <a:gd name="connsiteY182" fmla="*/ 1402867 h 6858000"/>
                <a:gd name="connsiteX183" fmla="*/ 7337963 w 11863054"/>
                <a:gd name="connsiteY183" fmla="*/ 916812 h 6858000"/>
                <a:gd name="connsiteX184" fmla="*/ 7618471 w 11863054"/>
                <a:gd name="connsiteY184" fmla="*/ 431035 h 6858000"/>
                <a:gd name="connsiteX185" fmla="*/ 9892505 w 11863054"/>
                <a:gd name="connsiteY185" fmla="*/ 430592 h 6858000"/>
                <a:gd name="connsiteX186" fmla="*/ 10173123 w 11863054"/>
                <a:gd name="connsiteY186" fmla="*/ 916536 h 6858000"/>
                <a:gd name="connsiteX187" fmla="*/ 9892560 w 11863054"/>
                <a:gd name="connsiteY187" fmla="*/ 1402534 h 6858000"/>
                <a:gd name="connsiteX188" fmla="*/ 9331323 w 11863054"/>
                <a:gd name="connsiteY188" fmla="*/ 1402534 h 6858000"/>
                <a:gd name="connsiteX189" fmla="*/ 9050650 w 11863054"/>
                <a:gd name="connsiteY189" fmla="*/ 916424 h 6858000"/>
                <a:gd name="connsiteX190" fmla="*/ 9331157 w 11863054"/>
                <a:gd name="connsiteY190" fmla="*/ 430592 h 6858000"/>
                <a:gd name="connsiteX191" fmla="*/ 11863054 w 11863054"/>
                <a:gd name="connsiteY191" fmla="*/ 0 h 6858000"/>
                <a:gd name="connsiteX192" fmla="*/ 11843939 w 11863054"/>
                <a:gd name="connsiteY192" fmla="*/ 0 h 6858000"/>
                <a:gd name="connsiteX193" fmla="*/ 11604970 w 11863054"/>
                <a:gd name="connsiteY193" fmla="*/ 413916 h 6858000"/>
                <a:gd name="connsiteX194" fmla="*/ 11043788 w 11863054"/>
                <a:gd name="connsiteY194" fmla="*/ 413916 h 6858000"/>
                <a:gd name="connsiteX195" fmla="*/ 10804853 w 11863054"/>
                <a:gd name="connsiteY195" fmla="*/ 0 h 6858000"/>
                <a:gd name="connsiteX196" fmla="*/ 10785529 w 11863054"/>
                <a:gd name="connsiteY196" fmla="*/ 0 h 6858000"/>
                <a:gd name="connsiteX197" fmla="*/ 11029217 w 11863054"/>
                <a:gd name="connsiteY197" fmla="*/ 422170 h 6858000"/>
                <a:gd name="connsiteX198" fmla="*/ 10748654 w 11863054"/>
                <a:gd name="connsiteY198" fmla="*/ 908114 h 6858000"/>
                <a:gd name="connsiteX199" fmla="*/ 10187639 w 11863054"/>
                <a:gd name="connsiteY199" fmla="*/ 908114 h 6858000"/>
                <a:gd name="connsiteX200" fmla="*/ 9906965 w 11863054"/>
                <a:gd name="connsiteY200" fmla="*/ 421949 h 6858000"/>
                <a:gd name="connsiteX201" fmla="*/ 10150539 w 11863054"/>
                <a:gd name="connsiteY201" fmla="*/ 0 h 6858000"/>
                <a:gd name="connsiteX202" fmla="*/ 10131190 w 11863054"/>
                <a:gd name="connsiteY202" fmla="*/ 0 h 6858000"/>
                <a:gd name="connsiteX203" fmla="*/ 9892339 w 11863054"/>
                <a:gd name="connsiteY203" fmla="*/ 413638 h 6858000"/>
                <a:gd name="connsiteX204" fmla="*/ 9330991 w 11863054"/>
                <a:gd name="connsiteY204" fmla="*/ 413638 h 6858000"/>
                <a:gd name="connsiteX205" fmla="*/ 9092139 w 11863054"/>
                <a:gd name="connsiteY205" fmla="*/ 0 h 6858000"/>
                <a:gd name="connsiteX206" fmla="*/ 9072826 w 11863054"/>
                <a:gd name="connsiteY206" fmla="*/ 0 h 6858000"/>
                <a:gd name="connsiteX207" fmla="*/ 9316642 w 11863054"/>
                <a:gd name="connsiteY207" fmla="*/ 422392 h 6858000"/>
                <a:gd name="connsiteX208" fmla="*/ 9036189 w 11863054"/>
                <a:gd name="connsiteY208" fmla="*/ 908170 h 6858000"/>
                <a:gd name="connsiteX209" fmla="*/ 8474731 w 11863054"/>
                <a:gd name="connsiteY209" fmla="*/ 908170 h 6858000"/>
                <a:gd name="connsiteX210" fmla="*/ 8194168 w 11863054"/>
                <a:gd name="connsiteY210" fmla="*/ 422503 h 6858000"/>
                <a:gd name="connsiteX211" fmla="*/ 8438136 w 11863054"/>
                <a:gd name="connsiteY211" fmla="*/ 0 h 6858000"/>
                <a:gd name="connsiteX212" fmla="*/ 8418811 w 11863054"/>
                <a:gd name="connsiteY212" fmla="*/ 0 h 6858000"/>
                <a:gd name="connsiteX213" fmla="*/ 8179597 w 11863054"/>
                <a:gd name="connsiteY213" fmla="*/ 414303 h 6858000"/>
                <a:gd name="connsiteX214" fmla="*/ 7618582 w 11863054"/>
                <a:gd name="connsiteY214" fmla="*/ 414303 h 6858000"/>
                <a:gd name="connsiteX215" fmla="*/ 7379274 w 11863054"/>
                <a:gd name="connsiteY215" fmla="*/ 0 h 6858000"/>
                <a:gd name="connsiteX216" fmla="*/ 7359940 w 11863054"/>
                <a:gd name="connsiteY216" fmla="*/ 0 h 6858000"/>
                <a:gd name="connsiteX217" fmla="*/ 7603955 w 11863054"/>
                <a:gd name="connsiteY217" fmla="*/ 422558 h 6858000"/>
                <a:gd name="connsiteX218" fmla="*/ 7323337 w 11863054"/>
                <a:gd name="connsiteY218" fmla="*/ 908447 h 6858000"/>
                <a:gd name="connsiteX219" fmla="*/ 6762100 w 11863054"/>
                <a:gd name="connsiteY219" fmla="*/ 908447 h 6858000"/>
                <a:gd name="connsiteX220" fmla="*/ 6481482 w 11863054"/>
                <a:gd name="connsiteY220" fmla="*/ 422503 h 6858000"/>
                <a:gd name="connsiteX221" fmla="*/ 6725445 w 11863054"/>
                <a:gd name="connsiteY221" fmla="*/ 0 h 6858000"/>
                <a:gd name="connsiteX222" fmla="*/ 6706132 w 11863054"/>
                <a:gd name="connsiteY222" fmla="*/ 0 h 6858000"/>
                <a:gd name="connsiteX223" fmla="*/ 6466910 w 11863054"/>
                <a:gd name="connsiteY223" fmla="*/ 414303 h 6858000"/>
                <a:gd name="connsiteX224" fmla="*/ 5905508 w 11863054"/>
                <a:gd name="connsiteY224" fmla="*/ 414303 h 6858000"/>
                <a:gd name="connsiteX225" fmla="*/ 5666338 w 11863054"/>
                <a:gd name="connsiteY225" fmla="*/ 0 h 6858000"/>
                <a:gd name="connsiteX226" fmla="*/ 5646974 w 11863054"/>
                <a:gd name="connsiteY226" fmla="*/ 0 h 6858000"/>
                <a:gd name="connsiteX227" fmla="*/ 5891214 w 11863054"/>
                <a:gd name="connsiteY227" fmla="*/ 422946 h 6858000"/>
                <a:gd name="connsiteX228" fmla="*/ 5618463 w 11863054"/>
                <a:gd name="connsiteY228" fmla="*/ 895261 h 6858000"/>
                <a:gd name="connsiteX229" fmla="*/ 5610706 w 11863054"/>
                <a:gd name="connsiteY229" fmla="*/ 908835 h 6858000"/>
                <a:gd name="connsiteX230" fmla="*/ 5049192 w 11863054"/>
                <a:gd name="connsiteY230" fmla="*/ 908835 h 6858000"/>
                <a:gd name="connsiteX231" fmla="*/ 4769017 w 11863054"/>
                <a:gd name="connsiteY231" fmla="*/ 423556 h 6858000"/>
                <a:gd name="connsiteX232" fmla="*/ 5013591 w 11863054"/>
                <a:gd name="connsiteY232" fmla="*/ 0 h 6858000"/>
                <a:gd name="connsiteX233" fmla="*/ 4993649 w 11863054"/>
                <a:gd name="connsiteY233" fmla="*/ 0 h 6858000"/>
                <a:gd name="connsiteX234" fmla="*/ 4754058 w 11863054"/>
                <a:gd name="connsiteY234" fmla="*/ 414857 h 6858000"/>
                <a:gd name="connsiteX235" fmla="*/ 4193652 w 11863054"/>
                <a:gd name="connsiteY235" fmla="*/ 414857 h 6858000"/>
                <a:gd name="connsiteX236" fmla="*/ 3954146 w 11863054"/>
                <a:gd name="connsiteY236" fmla="*/ 0 h 6858000"/>
                <a:gd name="connsiteX237" fmla="*/ 3934827 w 11863054"/>
                <a:gd name="connsiteY237" fmla="*/ 0 h 6858000"/>
                <a:gd name="connsiteX238" fmla="*/ 4178860 w 11863054"/>
                <a:gd name="connsiteY238" fmla="*/ 422669 h 6858000"/>
                <a:gd name="connsiteX239" fmla="*/ 3898186 w 11863054"/>
                <a:gd name="connsiteY239" fmla="*/ 909056 h 6858000"/>
                <a:gd name="connsiteX240" fmla="*/ 3337503 w 11863054"/>
                <a:gd name="connsiteY240" fmla="*/ 909056 h 6858000"/>
                <a:gd name="connsiteX241" fmla="*/ 3056829 w 11863054"/>
                <a:gd name="connsiteY241" fmla="*/ 422946 h 6858000"/>
                <a:gd name="connsiteX242" fmla="*/ 3300979 w 11863054"/>
                <a:gd name="connsiteY242" fmla="*/ 0 h 6858000"/>
                <a:gd name="connsiteX243" fmla="*/ 3281513 w 11863054"/>
                <a:gd name="connsiteY243" fmla="*/ 0 h 6858000"/>
                <a:gd name="connsiteX244" fmla="*/ 3042203 w 11863054"/>
                <a:gd name="connsiteY244" fmla="*/ 414691 h 6858000"/>
                <a:gd name="connsiteX245" fmla="*/ 2480855 w 11863054"/>
                <a:gd name="connsiteY245" fmla="*/ 414691 h 6858000"/>
                <a:gd name="connsiteX246" fmla="*/ 2241403 w 11863054"/>
                <a:gd name="connsiteY246" fmla="*/ 0 h 6858000"/>
                <a:gd name="connsiteX247" fmla="*/ 2222087 w 11863054"/>
                <a:gd name="connsiteY247" fmla="*/ 0 h 6858000"/>
                <a:gd name="connsiteX248" fmla="*/ 2466505 w 11863054"/>
                <a:gd name="connsiteY248" fmla="*/ 423389 h 6858000"/>
                <a:gd name="connsiteX249" fmla="*/ 2214697 w 11863054"/>
                <a:gd name="connsiteY249" fmla="*/ 859580 h 6858000"/>
                <a:gd name="connsiteX250" fmla="*/ 2186053 w 11863054"/>
                <a:gd name="connsiteY250" fmla="*/ 909278 h 6858000"/>
                <a:gd name="connsiteX251" fmla="*/ 1624539 w 11863054"/>
                <a:gd name="connsiteY251" fmla="*/ 909278 h 6858000"/>
                <a:gd name="connsiteX252" fmla="*/ 1344087 w 11863054"/>
                <a:gd name="connsiteY252" fmla="*/ 423445 h 6858000"/>
                <a:gd name="connsiteX253" fmla="*/ 1588559 w 11863054"/>
                <a:gd name="connsiteY253" fmla="*/ 0 h 6858000"/>
                <a:gd name="connsiteX254" fmla="*/ 1569223 w 11863054"/>
                <a:gd name="connsiteY254" fmla="*/ 0 h 6858000"/>
                <a:gd name="connsiteX255" fmla="*/ 1329461 w 11863054"/>
                <a:gd name="connsiteY255" fmla="*/ 415301 h 6858000"/>
                <a:gd name="connsiteX256" fmla="*/ 768446 w 11863054"/>
                <a:gd name="connsiteY256" fmla="*/ 415301 h 6858000"/>
                <a:gd name="connsiteX257" fmla="*/ 528589 w 11863054"/>
                <a:gd name="connsiteY257" fmla="*/ 0 h 6858000"/>
                <a:gd name="connsiteX258" fmla="*/ 509180 w 11863054"/>
                <a:gd name="connsiteY258" fmla="*/ 0 h 6858000"/>
                <a:gd name="connsiteX259" fmla="*/ 753764 w 11863054"/>
                <a:gd name="connsiteY259" fmla="*/ 423667 h 6858000"/>
                <a:gd name="connsiteX260" fmla="*/ 473201 w 11863054"/>
                <a:gd name="connsiteY260" fmla="*/ 909444 h 6858000"/>
                <a:gd name="connsiteX261" fmla="*/ 0 w 11863054"/>
                <a:gd name="connsiteY261" fmla="*/ 909444 h 6858000"/>
                <a:gd name="connsiteX262" fmla="*/ 0 w 11863054"/>
                <a:gd name="connsiteY262" fmla="*/ 926120 h 6858000"/>
                <a:gd name="connsiteX263" fmla="*/ 473201 w 11863054"/>
                <a:gd name="connsiteY263" fmla="*/ 926120 h 6858000"/>
                <a:gd name="connsiteX264" fmla="*/ 754041 w 11863054"/>
                <a:gd name="connsiteY264" fmla="*/ 1412285 h 6858000"/>
                <a:gd name="connsiteX265" fmla="*/ 473533 w 11863054"/>
                <a:gd name="connsiteY265" fmla="*/ 1898063 h 6858000"/>
                <a:gd name="connsiteX266" fmla="*/ 0 w 11863054"/>
                <a:gd name="connsiteY266" fmla="*/ 1898063 h 6858000"/>
                <a:gd name="connsiteX267" fmla="*/ 0 w 11863054"/>
                <a:gd name="connsiteY267" fmla="*/ 1914850 h 6858000"/>
                <a:gd name="connsiteX268" fmla="*/ 473533 w 11863054"/>
                <a:gd name="connsiteY268" fmla="*/ 1914850 h 6858000"/>
                <a:gd name="connsiteX269" fmla="*/ 753875 w 11863054"/>
                <a:gd name="connsiteY269" fmla="*/ 2400517 h 6858000"/>
                <a:gd name="connsiteX270" fmla="*/ 473201 w 11863054"/>
                <a:gd name="connsiteY270" fmla="*/ 2886737 h 6858000"/>
                <a:gd name="connsiteX271" fmla="*/ 0 w 11863054"/>
                <a:gd name="connsiteY271" fmla="*/ 2886737 h 6858000"/>
                <a:gd name="connsiteX272" fmla="*/ 0 w 11863054"/>
                <a:gd name="connsiteY272" fmla="*/ 2903414 h 6858000"/>
                <a:gd name="connsiteX273" fmla="*/ 472924 w 11863054"/>
                <a:gd name="connsiteY273" fmla="*/ 2903414 h 6858000"/>
                <a:gd name="connsiteX274" fmla="*/ 753597 w 11863054"/>
                <a:gd name="connsiteY274" fmla="*/ 3389579 h 6858000"/>
                <a:gd name="connsiteX275" fmla="*/ 473201 w 11863054"/>
                <a:gd name="connsiteY275" fmla="*/ 3875245 h 6858000"/>
                <a:gd name="connsiteX276" fmla="*/ 0 w 11863054"/>
                <a:gd name="connsiteY276" fmla="*/ 3875245 h 6858000"/>
                <a:gd name="connsiteX277" fmla="*/ 0 w 11863054"/>
                <a:gd name="connsiteY277" fmla="*/ 3892032 h 6858000"/>
                <a:gd name="connsiteX278" fmla="*/ 473367 w 11863054"/>
                <a:gd name="connsiteY278" fmla="*/ 3892032 h 6858000"/>
                <a:gd name="connsiteX279" fmla="*/ 753875 w 11863054"/>
                <a:gd name="connsiteY279" fmla="*/ 4377921 h 6858000"/>
                <a:gd name="connsiteX280" fmla="*/ 473201 w 11863054"/>
                <a:gd name="connsiteY280" fmla="*/ 4863975 h 6858000"/>
                <a:gd name="connsiteX281" fmla="*/ 0 w 11863054"/>
                <a:gd name="connsiteY281" fmla="*/ 4863975 h 6858000"/>
                <a:gd name="connsiteX282" fmla="*/ 0 w 11863054"/>
                <a:gd name="connsiteY282" fmla="*/ 4880651 h 6858000"/>
                <a:gd name="connsiteX283" fmla="*/ 473422 w 11863054"/>
                <a:gd name="connsiteY283" fmla="*/ 4880651 h 6858000"/>
                <a:gd name="connsiteX284" fmla="*/ 754041 w 11863054"/>
                <a:gd name="connsiteY284" fmla="*/ 5366650 h 6858000"/>
                <a:gd name="connsiteX285" fmla="*/ 473478 w 11863054"/>
                <a:gd name="connsiteY285" fmla="*/ 5852538 h 6858000"/>
                <a:gd name="connsiteX286" fmla="*/ 0 w 11863054"/>
                <a:gd name="connsiteY286" fmla="*/ 5852538 h 6858000"/>
                <a:gd name="connsiteX287" fmla="*/ 0 w 11863054"/>
                <a:gd name="connsiteY287" fmla="*/ 5869436 h 6858000"/>
                <a:gd name="connsiteX288" fmla="*/ 473699 w 11863054"/>
                <a:gd name="connsiteY288" fmla="*/ 5869436 h 6858000"/>
                <a:gd name="connsiteX289" fmla="*/ 754262 w 11863054"/>
                <a:gd name="connsiteY289" fmla="*/ 6355158 h 6858000"/>
                <a:gd name="connsiteX290" fmla="*/ 473644 w 11863054"/>
                <a:gd name="connsiteY290" fmla="*/ 6841324 h 6858000"/>
                <a:gd name="connsiteX291" fmla="*/ 0 w 11863054"/>
                <a:gd name="connsiteY291" fmla="*/ 6841324 h 6858000"/>
                <a:gd name="connsiteX292" fmla="*/ 0 w 11863054"/>
                <a:gd name="connsiteY292" fmla="*/ 6858000 h 6858000"/>
                <a:gd name="connsiteX293" fmla="*/ 483173 w 11863054"/>
                <a:gd name="connsiteY293" fmla="*/ 6858000 h 6858000"/>
                <a:gd name="connsiteX294" fmla="*/ 773377 w 11863054"/>
                <a:gd name="connsiteY294" fmla="*/ 6355214 h 6858000"/>
                <a:gd name="connsiteX295" fmla="*/ 487938 w 11863054"/>
                <a:gd name="connsiteY295" fmla="*/ 5860849 h 6858000"/>
                <a:gd name="connsiteX296" fmla="*/ 773266 w 11863054"/>
                <a:gd name="connsiteY296" fmla="*/ 5366761 h 6858000"/>
                <a:gd name="connsiteX297" fmla="*/ 487716 w 11863054"/>
                <a:gd name="connsiteY297" fmla="*/ 4872175 h 6858000"/>
                <a:gd name="connsiteX298" fmla="*/ 773099 w 11863054"/>
                <a:gd name="connsiteY298" fmla="*/ 4378031 h 6858000"/>
                <a:gd name="connsiteX299" fmla="*/ 487606 w 11863054"/>
                <a:gd name="connsiteY299" fmla="*/ 3883611 h 6858000"/>
                <a:gd name="connsiteX300" fmla="*/ 768002 w 11863054"/>
                <a:gd name="connsiteY300" fmla="*/ 3398111 h 6858000"/>
                <a:gd name="connsiteX301" fmla="*/ 1338990 w 11863054"/>
                <a:gd name="connsiteY301" fmla="*/ 3398111 h 6858000"/>
                <a:gd name="connsiteX302" fmla="*/ 1624539 w 11863054"/>
                <a:gd name="connsiteY302" fmla="*/ 2903469 h 6858000"/>
                <a:gd name="connsiteX303" fmla="*/ 2185943 w 11863054"/>
                <a:gd name="connsiteY303" fmla="*/ 2903469 h 6858000"/>
                <a:gd name="connsiteX304" fmla="*/ 2466505 w 11863054"/>
                <a:gd name="connsiteY304" fmla="*/ 3389246 h 6858000"/>
                <a:gd name="connsiteX305" fmla="*/ 2185887 w 11863054"/>
                <a:gd name="connsiteY305" fmla="*/ 3875245 h 6858000"/>
                <a:gd name="connsiteX306" fmla="*/ 1615010 w 11863054"/>
                <a:gd name="connsiteY306" fmla="*/ 3875245 h 6858000"/>
                <a:gd name="connsiteX307" fmla="*/ 1324807 w 11863054"/>
                <a:gd name="connsiteY307" fmla="*/ 4378031 h 6858000"/>
                <a:gd name="connsiteX308" fmla="*/ 1610245 w 11863054"/>
                <a:gd name="connsiteY308" fmla="*/ 4872396 h 6858000"/>
                <a:gd name="connsiteX309" fmla="*/ 1324973 w 11863054"/>
                <a:gd name="connsiteY309" fmla="*/ 5366595 h 6858000"/>
                <a:gd name="connsiteX310" fmla="*/ 1615232 w 11863054"/>
                <a:gd name="connsiteY310" fmla="*/ 5869215 h 6858000"/>
                <a:gd name="connsiteX311" fmla="*/ 2195693 w 11863054"/>
                <a:gd name="connsiteY311" fmla="*/ 5869215 h 6858000"/>
                <a:gd name="connsiteX312" fmla="*/ 2485952 w 11863054"/>
                <a:gd name="connsiteY312" fmla="*/ 5366539 h 6858000"/>
                <a:gd name="connsiteX313" fmla="*/ 2200403 w 11863054"/>
                <a:gd name="connsiteY313" fmla="*/ 4872064 h 6858000"/>
                <a:gd name="connsiteX314" fmla="*/ 2481021 w 11863054"/>
                <a:gd name="connsiteY314" fmla="*/ 4386120 h 6858000"/>
                <a:gd name="connsiteX315" fmla="*/ 3042369 w 11863054"/>
                <a:gd name="connsiteY315" fmla="*/ 4386120 h 6858000"/>
                <a:gd name="connsiteX316" fmla="*/ 3327641 w 11863054"/>
                <a:gd name="connsiteY316" fmla="*/ 4880263 h 6858000"/>
                <a:gd name="connsiteX317" fmla="*/ 3908214 w 11863054"/>
                <a:gd name="connsiteY317" fmla="*/ 4880263 h 6858000"/>
                <a:gd name="connsiteX318" fmla="*/ 4193541 w 11863054"/>
                <a:gd name="connsiteY318" fmla="*/ 4386120 h 6858000"/>
                <a:gd name="connsiteX319" fmla="*/ 4764474 w 11863054"/>
                <a:gd name="connsiteY319" fmla="*/ 4386120 h 6858000"/>
                <a:gd name="connsiteX320" fmla="*/ 5050023 w 11863054"/>
                <a:gd name="connsiteY320" fmla="*/ 3891478 h 6858000"/>
                <a:gd name="connsiteX321" fmla="*/ 5620734 w 11863054"/>
                <a:gd name="connsiteY321" fmla="*/ 3891478 h 6858000"/>
                <a:gd name="connsiteX322" fmla="*/ 5906173 w 11863054"/>
                <a:gd name="connsiteY322" fmla="*/ 3396948 h 6858000"/>
                <a:gd name="connsiteX323" fmla="*/ 6476938 w 11863054"/>
                <a:gd name="connsiteY323" fmla="*/ 3396948 h 6858000"/>
                <a:gd name="connsiteX324" fmla="*/ 6762488 w 11863054"/>
                <a:gd name="connsiteY324" fmla="*/ 2902416 h 6858000"/>
                <a:gd name="connsiteX325" fmla="*/ 7333199 w 11863054"/>
                <a:gd name="connsiteY325" fmla="*/ 2902416 h 6858000"/>
                <a:gd name="connsiteX326" fmla="*/ 7618637 w 11863054"/>
                <a:gd name="connsiteY326" fmla="*/ 2408218 h 6858000"/>
                <a:gd name="connsiteX327" fmla="*/ 8189569 w 11863054"/>
                <a:gd name="connsiteY327" fmla="*/ 2408218 h 6858000"/>
                <a:gd name="connsiteX328" fmla="*/ 8475063 w 11863054"/>
                <a:gd name="connsiteY328" fmla="*/ 1913631 h 6858000"/>
                <a:gd name="connsiteX329" fmla="*/ 9045830 w 11863054"/>
                <a:gd name="connsiteY329" fmla="*/ 1913631 h 6858000"/>
                <a:gd name="connsiteX330" fmla="*/ 9331379 w 11863054"/>
                <a:gd name="connsiteY330" fmla="*/ 1419100 h 6858000"/>
                <a:gd name="connsiteX331" fmla="*/ 9902145 w 11863054"/>
                <a:gd name="connsiteY331" fmla="*/ 1419100 h 6858000"/>
                <a:gd name="connsiteX332" fmla="*/ 10187584 w 11863054"/>
                <a:gd name="connsiteY332" fmla="*/ 924680 h 6858000"/>
                <a:gd name="connsiteX333" fmla="*/ 10758184 w 11863054"/>
                <a:gd name="connsiteY333" fmla="*/ 924680 h 6858000"/>
                <a:gd name="connsiteX334" fmla="*/ 11043511 w 11863054"/>
                <a:gd name="connsiteY334" fmla="*/ 430537 h 6858000"/>
                <a:gd name="connsiteX335" fmla="*/ 11614444 w 11863054"/>
                <a:gd name="connsiteY335" fmla="*/ 43053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11863054" h="6858000">
                  <a:moveTo>
                    <a:pt x="2186275" y="4880651"/>
                  </a:moveTo>
                  <a:lnTo>
                    <a:pt x="2466727" y="5366539"/>
                  </a:lnTo>
                  <a:lnTo>
                    <a:pt x="2186109" y="5852538"/>
                  </a:lnTo>
                  <a:lnTo>
                    <a:pt x="1624817" y="5852538"/>
                  </a:lnTo>
                  <a:lnTo>
                    <a:pt x="1344198" y="5366539"/>
                  </a:lnTo>
                  <a:lnTo>
                    <a:pt x="1624650" y="4880651"/>
                  </a:lnTo>
                  <a:close/>
                  <a:moveTo>
                    <a:pt x="2185887" y="3891755"/>
                  </a:moveTo>
                  <a:lnTo>
                    <a:pt x="2466505" y="4377921"/>
                  </a:lnTo>
                  <a:lnTo>
                    <a:pt x="2186053" y="4863753"/>
                  </a:lnTo>
                  <a:lnTo>
                    <a:pt x="1624539" y="4863753"/>
                  </a:lnTo>
                  <a:lnTo>
                    <a:pt x="1343977" y="4377921"/>
                  </a:lnTo>
                  <a:lnTo>
                    <a:pt x="1624650" y="3891755"/>
                  </a:lnTo>
                  <a:close/>
                  <a:moveTo>
                    <a:pt x="3898518" y="3891700"/>
                  </a:moveTo>
                  <a:lnTo>
                    <a:pt x="4179137" y="4377644"/>
                  </a:lnTo>
                  <a:lnTo>
                    <a:pt x="3898518" y="4863642"/>
                  </a:lnTo>
                  <a:lnTo>
                    <a:pt x="3337226" y="4863642"/>
                  </a:lnTo>
                  <a:lnTo>
                    <a:pt x="3056718" y="4377644"/>
                  </a:lnTo>
                  <a:lnTo>
                    <a:pt x="3337337" y="3891700"/>
                  </a:lnTo>
                  <a:close/>
                  <a:moveTo>
                    <a:pt x="4755000" y="3397502"/>
                  </a:moveTo>
                  <a:lnTo>
                    <a:pt x="5035508" y="3883389"/>
                  </a:lnTo>
                  <a:lnTo>
                    <a:pt x="4754778" y="4369444"/>
                  </a:lnTo>
                  <a:lnTo>
                    <a:pt x="4193652" y="4369444"/>
                  </a:lnTo>
                  <a:lnTo>
                    <a:pt x="3912978" y="3883223"/>
                  </a:lnTo>
                  <a:lnTo>
                    <a:pt x="4193541" y="3397502"/>
                  </a:lnTo>
                  <a:close/>
                  <a:moveTo>
                    <a:pt x="3042147" y="3397391"/>
                  </a:moveTo>
                  <a:lnTo>
                    <a:pt x="3322710" y="3883389"/>
                  </a:lnTo>
                  <a:lnTo>
                    <a:pt x="3042147" y="4369444"/>
                  </a:lnTo>
                  <a:lnTo>
                    <a:pt x="2480966" y="4369444"/>
                  </a:lnTo>
                  <a:lnTo>
                    <a:pt x="2200292" y="3883389"/>
                  </a:lnTo>
                  <a:lnTo>
                    <a:pt x="2480911" y="3397391"/>
                  </a:lnTo>
                  <a:close/>
                  <a:moveTo>
                    <a:pt x="3898186" y="2902970"/>
                  </a:moveTo>
                  <a:lnTo>
                    <a:pt x="4178860" y="3389136"/>
                  </a:lnTo>
                  <a:lnTo>
                    <a:pt x="3898463" y="3874857"/>
                  </a:lnTo>
                  <a:lnTo>
                    <a:pt x="3337115" y="3874857"/>
                  </a:lnTo>
                  <a:lnTo>
                    <a:pt x="3056607" y="3388969"/>
                  </a:lnTo>
                  <a:lnTo>
                    <a:pt x="3337115" y="2902970"/>
                  </a:lnTo>
                  <a:close/>
                  <a:moveTo>
                    <a:pt x="5611205" y="2902915"/>
                  </a:moveTo>
                  <a:lnTo>
                    <a:pt x="5891712" y="3388748"/>
                  </a:lnTo>
                  <a:lnTo>
                    <a:pt x="5611149" y="3874857"/>
                  </a:lnTo>
                  <a:lnTo>
                    <a:pt x="5049857" y="3874857"/>
                  </a:lnTo>
                  <a:lnTo>
                    <a:pt x="4769239" y="3388969"/>
                  </a:lnTo>
                  <a:lnTo>
                    <a:pt x="5049857" y="2902915"/>
                  </a:lnTo>
                  <a:close/>
                  <a:moveTo>
                    <a:pt x="1329350" y="2409215"/>
                  </a:moveTo>
                  <a:lnTo>
                    <a:pt x="1609968" y="2895269"/>
                  </a:lnTo>
                  <a:lnTo>
                    <a:pt x="1329350" y="3381379"/>
                  </a:lnTo>
                  <a:lnTo>
                    <a:pt x="768224" y="3381379"/>
                  </a:lnTo>
                  <a:lnTo>
                    <a:pt x="487716" y="2895546"/>
                  </a:lnTo>
                  <a:lnTo>
                    <a:pt x="768501" y="2409215"/>
                  </a:lnTo>
                  <a:close/>
                  <a:moveTo>
                    <a:pt x="3041981" y="2408883"/>
                  </a:moveTo>
                  <a:lnTo>
                    <a:pt x="3322599" y="2894826"/>
                  </a:lnTo>
                  <a:lnTo>
                    <a:pt x="3042092" y="3380714"/>
                  </a:lnTo>
                  <a:lnTo>
                    <a:pt x="2480855" y="3380714"/>
                  </a:lnTo>
                  <a:lnTo>
                    <a:pt x="2200126" y="2894715"/>
                  </a:lnTo>
                  <a:lnTo>
                    <a:pt x="2480689" y="2408883"/>
                  </a:lnTo>
                  <a:close/>
                  <a:moveTo>
                    <a:pt x="4754612" y="2408827"/>
                  </a:moveTo>
                  <a:lnTo>
                    <a:pt x="5035231" y="2894715"/>
                  </a:lnTo>
                  <a:lnTo>
                    <a:pt x="4754612" y="3380714"/>
                  </a:lnTo>
                  <a:lnTo>
                    <a:pt x="4193375" y="3380714"/>
                  </a:lnTo>
                  <a:lnTo>
                    <a:pt x="3912757" y="2894715"/>
                  </a:lnTo>
                  <a:lnTo>
                    <a:pt x="4193320" y="2408827"/>
                  </a:lnTo>
                  <a:close/>
                  <a:moveTo>
                    <a:pt x="6467576" y="2408384"/>
                  </a:moveTo>
                  <a:lnTo>
                    <a:pt x="6748083" y="2894217"/>
                  </a:lnTo>
                  <a:lnTo>
                    <a:pt x="6467409" y="3380326"/>
                  </a:lnTo>
                  <a:lnTo>
                    <a:pt x="5906173" y="3380326"/>
                  </a:lnTo>
                  <a:lnTo>
                    <a:pt x="5625554" y="2894272"/>
                  </a:lnTo>
                  <a:lnTo>
                    <a:pt x="5906006" y="2408384"/>
                  </a:lnTo>
                  <a:close/>
                  <a:moveTo>
                    <a:pt x="2185610" y="1914628"/>
                  </a:moveTo>
                  <a:lnTo>
                    <a:pt x="2466229" y="2400572"/>
                  </a:lnTo>
                  <a:lnTo>
                    <a:pt x="2423402" y="2474702"/>
                  </a:lnTo>
                  <a:lnTo>
                    <a:pt x="2185555" y="2886737"/>
                  </a:lnTo>
                  <a:lnTo>
                    <a:pt x="1624318" y="2886737"/>
                  </a:lnTo>
                  <a:lnTo>
                    <a:pt x="1344087" y="2401292"/>
                  </a:lnTo>
                  <a:lnTo>
                    <a:pt x="1625093" y="1914628"/>
                  </a:lnTo>
                  <a:close/>
                  <a:moveTo>
                    <a:pt x="3898186" y="1914462"/>
                  </a:moveTo>
                  <a:lnTo>
                    <a:pt x="4178804" y="2400461"/>
                  </a:lnTo>
                  <a:lnTo>
                    <a:pt x="3898241" y="2886349"/>
                  </a:lnTo>
                  <a:lnTo>
                    <a:pt x="3337115" y="2886349"/>
                  </a:lnTo>
                  <a:lnTo>
                    <a:pt x="3056441" y="2400295"/>
                  </a:lnTo>
                  <a:lnTo>
                    <a:pt x="3336949" y="1914462"/>
                  </a:lnTo>
                  <a:close/>
                  <a:moveTo>
                    <a:pt x="5610872" y="1914185"/>
                  </a:moveTo>
                  <a:lnTo>
                    <a:pt x="5891491" y="2400240"/>
                  </a:lnTo>
                  <a:lnTo>
                    <a:pt x="5610983" y="2886072"/>
                  </a:lnTo>
                  <a:lnTo>
                    <a:pt x="5049469" y="2886072"/>
                  </a:lnTo>
                  <a:lnTo>
                    <a:pt x="4768962" y="2400295"/>
                  </a:lnTo>
                  <a:lnTo>
                    <a:pt x="5049635" y="1914185"/>
                  </a:lnTo>
                  <a:close/>
                  <a:moveTo>
                    <a:pt x="7323669" y="1913853"/>
                  </a:moveTo>
                  <a:lnTo>
                    <a:pt x="7604232" y="2399852"/>
                  </a:lnTo>
                  <a:lnTo>
                    <a:pt x="7323669" y="2885740"/>
                  </a:lnTo>
                  <a:lnTo>
                    <a:pt x="6762377" y="2885740"/>
                  </a:lnTo>
                  <a:lnTo>
                    <a:pt x="6481870" y="2399741"/>
                  </a:lnTo>
                  <a:lnTo>
                    <a:pt x="6762322" y="1913853"/>
                  </a:lnTo>
                  <a:close/>
                  <a:moveTo>
                    <a:pt x="1330015" y="1420652"/>
                  </a:moveTo>
                  <a:lnTo>
                    <a:pt x="1610135" y="1905930"/>
                  </a:lnTo>
                  <a:lnTo>
                    <a:pt x="1329073" y="2392594"/>
                  </a:lnTo>
                  <a:lnTo>
                    <a:pt x="768723" y="2392594"/>
                  </a:lnTo>
                  <a:lnTo>
                    <a:pt x="487993" y="1906429"/>
                  </a:lnTo>
                  <a:lnTo>
                    <a:pt x="768446" y="1420652"/>
                  </a:lnTo>
                  <a:close/>
                  <a:moveTo>
                    <a:pt x="4754612" y="1420208"/>
                  </a:moveTo>
                  <a:lnTo>
                    <a:pt x="5035175" y="1906096"/>
                  </a:lnTo>
                  <a:lnTo>
                    <a:pt x="4754391" y="2392151"/>
                  </a:lnTo>
                  <a:lnTo>
                    <a:pt x="4193375" y="2392151"/>
                  </a:lnTo>
                  <a:lnTo>
                    <a:pt x="3912646" y="1905986"/>
                  </a:lnTo>
                  <a:lnTo>
                    <a:pt x="4193098" y="1420208"/>
                  </a:lnTo>
                  <a:close/>
                  <a:moveTo>
                    <a:pt x="3041704" y="1420097"/>
                  </a:moveTo>
                  <a:lnTo>
                    <a:pt x="3322322" y="1906207"/>
                  </a:lnTo>
                  <a:lnTo>
                    <a:pt x="3041925" y="2391985"/>
                  </a:lnTo>
                  <a:lnTo>
                    <a:pt x="2480523" y="2391985"/>
                  </a:lnTo>
                  <a:lnTo>
                    <a:pt x="2200347" y="1906706"/>
                  </a:lnTo>
                  <a:lnTo>
                    <a:pt x="2481187" y="1420097"/>
                  </a:lnTo>
                  <a:close/>
                  <a:moveTo>
                    <a:pt x="6467243" y="1419654"/>
                  </a:moveTo>
                  <a:lnTo>
                    <a:pt x="6747862" y="1905597"/>
                  </a:lnTo>
                  <a:lnTo>
                    <a:pt x="6467409" y="2391486"/>
                  </a:lnTo>
                  <a:lnTo>
                    <a:pt x="5905785" y="2391486"/>
                  </a:lnTo>
                  <a:lnTo>
                    <a:pt x="5625333" y="1905708"/>
                  </a:lnTo>
                  <a:lnTo>
                    <a:pt x="5735696" y="1714456"/>
                  </a:lnTo>
                  <a:lnTo>
                    <a:pt x="5905950" y="1419654"/>
                  </a:lnTo>
                  <a:close/>
                  <a:moveTo>
                    <a:pt x="8180151" y="1419654"/>
                  </a:moveTo>
                  <a:lnTo>
                    <a:pt x="8460603" y="1905487"/>
                  </a:lnTo>
                  <a:lnTo>
                    <a:pt x="8179984" y="2391652"/>
                  </a:lnTo>
                  <a:lnTo>
                    <a:pt x="7618914" y="2391652"/>
                  </a:lnTo>
                  <a:lnTo>
                    <a:pt x="7338130" y="1905432"/>
                  </a:lnTo>
                  <a:lnTo>
                    <a:pt x="7618582" y="1419654"/>
                  </a:lnTo>
                  <a:close/>
                  <a:moveTo>
                    <a:pt x="2186164" y="926120"/>
                  </a:moveTo>
                  <a:lnTo>
                    <a:pt x="2466395" y="1411344"/>
                  </a:lnTo>
                  <a:lnTo>
                    <a:pt x="2185555" y="1897952"/>
                  </a:lnTo>
                  <a:lnTo>
                    <a:pt x="1624817" y="1897952"/>
                  </a:lnTo>
                  <a:lnTo>
                    <a:pt x="1344253" y="1412064"/>
                  </a:lnTo>
                  <a:lnTo>
                    <a:pt x="1624817" y="926120"/>
                  </a:lnTo>
                  <a:close/>
                  <a:moveTo>
                    <a:pt x="3897853" y="925677"/>
                  </a:moveTo>
                  <a:lnTo>
                    <a:pt x="4178583" y="1411842"/>
                  </a:lnTo>
                  <a:lnTo>
                    <a:pt x="3898186" y="1897620"/>
                  </a:lnTo>
                  <a:lnTo>
                    <a:pt x="3336838" y="1897620"/>
                  </a:lnTo>
                  <a:lnTo>
                    <a:pt x="3056607" y="1412174"/>
                  </a:lnTo>
                  <a:lnTo>
                    <a:pt x="3337503" y="925677"/>
                  </a:lnTo>
                  <a:close/>
                  <a:moveTo>
                    <a:pt x="5610872" y="925622"/>
                  </a:moveTo>
                  <a:lnTo>
                    <a:pt x="5891380" y="1411455"/>
                  </a:lnTo>
                  <a:lnTo>
                    <a:pt x="5710376" y="1725093"/>
                  </a:lnTo>
                  <a:lnTo>
                    <a:pt x="5610761" y="1897453"/>
                  </a:lnTo>
                  <a:lnTo>
                    <a:pt x="5049414" y="1897453"/>
                  </a:lnTo>
                  <a:lnTo>
                    <a:pt x="4768851" y="1411565"/>
                  </a:lnTo>
                  <a:lnTo>
                    <a:pt x="5049469" y="925622"/>
                  </a:lnTo>
                  <a:close/>
                  <a:moveTo>
                    <a:pt x="7323392" y="925123"/>
                  </a:moveTo>
                  <a:lnTo>
                    <a:pt x="7604121" y="1411344"/>
                  </a:lnTo>
                  <a:lnTo>
                    <a:pt x="7323558" y="1896955"/>
                  </a:lnTo>
                  <a:lnTo>
                    <a:pt x="6762100" y="1896955"/>
                  </a:lnTo>
                  <a:lnTo>
                    <a:pt x="6481537" y="1411178"/>
                  </a:lnTo>
                  <a:lnTo>
                    <a:pt x="6591069" y="1221532"/>
                  </a:lnTo>
                  <a:lnTo>
                    <a:pt x="6762266" y="925123"/>
                  </a:lnTo>
                  <a:close/>
                  <a:moveTo>
                    <a:pt x="9036411" y="925068"/>
                  </a:moveTo>
                  <a:lnTo>
                    <a:pt x="9316919" y="1410955"/>
                  </a:lnTo>
                  <a:lnTo>
                    <a:pt x="9036245" y="1896955"/>
                  </a:lnTo>
                  <a:lnTo>
                    <a:pt x="8475008" y="1896955"/>
                  </a:lnTo>
                  <a:lnTo>
                    <a:pt x="8194389" y="1411066"/>
                  </a:lnTo>
                  <a:lnTo>
                    <a:pt x="8475008" y="925068"/>
                  </a:lnTo>
                  <a:close/>
                  <a:moveTo>
                    <a:pt x="1329738" y="432032"/>
                  </a:moveTo>
                  <a:lnTo>
                    <a:pt x="1610245" y="917810"/>
                  </a:lnTo>
                  <a:lnTo>
                    <a:pt x="1329627" y="1403864"/>
                  </a:lnTo>
                  <a:lnTo>
                    <a:pt x="768446" y="1403864"/>
                  </a:lnTo>
                  <a:lnTo>
                    <a:pt x="487827" y="917810"/>
                  </a:lnTo>
                  <a:lnTo>
                    <a:pt x="768335" y="432032"/>
                  </a:lnTo>
                  <a:close/>
                  <a:moveTo>
                    <a:pt x="3042369" y="431534"/>
                  </a:moveTo>
                  <a:lnTo>
                    <a:pt x="3322599" y="916979"/>
                  </a:lnTo>
                  <a:lnTo>
                    <a:pt x="3041704" y="1403366"/>
                  </a:lnTo>
                  <a:lnTo>
                    <a:pt x="2481187" y="1403366"/>
                  </a:lnTo>
                  <a:lnTo>
                    <a:pt x="2200569" y="917422"/>
                  </a:lnTo>
                  <a:lnTo>
                    <a:pt x="2481021" y="431534"/>
                  </a:lnTo>
                  <a:close/>
                  <a:moveTo>
                    <a:pt x="4754335" y="431534"/>
                  </a:moveTo>
                  <a:lnTo>
                    <a:pt x="5034898" y="917477"/>
                  </a:lnTo>
                  <a:lnTo>
                    <a:pt x="4754169" y="1403366"/>
                  </a:lnTo>
                  <a:lnTo>
                    <a:pt x="4193043" y="1403366"/>
                  </a:lnTo>
                  <a:lnTo>
                    <a:pt x="3912701" y="917810"/>
                  </a:lnTo>
                  <a:lnTo>
                    <a:pt x="4193541" y="431534"/>
                  </a:lnTo>
                  <a:close/>
                  <a:moveTo>
                    <a:pt x="6467243" y="431090"/>
                  </a:moveTo>
                  <a:lnTo>
                    <a:pt x="6747695" y="916979"/>
                  </a:lnTo>
                  <a:lnTo>
                    <a:pt x="6693400" y="1011054"/>
                  </a:lnTo>
                  <a:lnTo>
                    <a:pt x="6467077" y="1403033"/>
                  </a:lnTo>
                  <a:lnTo>
                    <a:pt x="5905729" y="1403033"/>
                  </a:lnTo>
                  <a:lnTo>
                    <a:pt x="5625166" y="916979"/>
                  </a:lnTo>
                  <a:lnTo>
                    <a:pt x="5905674" y="431090"/>
                  </a:lnTo>
                  <a:close/>
                  <a:moveTo>
                    <a:pt x="8179874" y="431035"/>
                  </a:moveTo>
                  <a:lnTo>
                    <a:pt x="8460326" y="916812"/>
                  </a:lnTo>
                  <a:lnTo>
                    <a:pt x="8179818" y="1402867"/>
                  </a:lnTo>
                  <a:lnTo>
                    <a:pt x="7618582" y="1402867"/>
                  </a:lnTo>
                  <a:lnTo>
                    <a:pt x="7337963" y="916812"/>
                  </a:lnTo>
                  <a:lnTo>
                    <a:pt x="7618471" y="431035"/>
                  </a:lnTo>
                  <a:close/>
                  <a:moveTo>
                    <a:pt x="9892505" y="430592"/>
                  </a:moveTo>
                  <a:lnTo>
                    <a:pt x="10173123" y="916536"/>
                  </a:lnTo>
                  <a:lnTo>
                    <a:pt x="9892560" y="1402534"/>
                  </a:lnTo>
                  <a:lnTo>
                    <a:pt x="9331323" y="1402534"/>
                  </a:lnTo>
                  <a:lnTo>
                    <a:pt x="9050650" y="916424"/>
                  </a:lnTo>
                  <a:lnTo>
                    <a:pt x="9331157" y="430592"/>
                  </a:lnTo>
                  <a:close/>
                  <a:moveTo>
                    <a:pt x="11863054" y="0"/>
                  </a:moveTo>
                  <a:lnTo>
                    <a:pt x="11843939" y="0"/>
                  </a:lnTo>
                  <a:lnTo>
                    <a:pt x="11604970" y="413916"/>
                  </a:lnTo>
                  <a:lnTo>
                    <a:pt x="11043788" y="413916"/>
                  </a:lnTo>
                  <a:lnTo>
                    <a:pt x="10804853" y="0"/>
                  </a:lnTo>
                  <a:lnTo>
                    <a:pt x="10785529" y="0"/>
                  </a:lnTo>
                  <a:lnTo>
                    <a:pt x="11029217" y="422170"/>
                  </a:lnTo>
                  <a:lnTo>
                    <a:pt x="10748654" y="908114"/>
                  </a:lnTo>
                  <a:lnTo>
                    <a:pt x="10187639" y="908114"/>
                  </a:lnTo>
                  <a:lnTo>
                    <a:pt x="9906965" y="421949"/>
                  </a:lnTo>
                  <a:lnTo>
                    <a:pt x="10150539" y="0"/>
                  </a:lnTo>
                  <a:lnTo>
                    <a:pt x="10131190" y="0"/>
                  </a:lnTo>
                  <a:lnTo>
                    <a:pt x="9892339" y="413638"/>
                  </a:lnTo>
                  <a:lnTo>
                    <a:pt x="9330991" y="413638"/>
                  </a:lnTo>
                  <a:lnTo>
                    <a:pt x="9092139" y="0"/>
                  </a:lnTo>
                  <a:lnTo>
                    <a:pt x="9072826" y="0"/>
                  </a:lnTo>
                  <a:lnTo>
                    <a:pt x="9316642" y="422392"/>
                  </a:lnTo>
                  <a:lnTo>
                    <a:pt x="9036189" y="908170"/>
                  </a:lnTo>
                  <a:lnTo>
                    <a:pt x="8474731" y="908170"/>
                  </a:lnTo>
                  <a:lnTo>
                    <a:pt x="8194168" y="422503"/>
                  </a:lnTo>
                  <a:lnTo>
                    <a:pt x="8438136" y="0"/>
                  </a:lnTo>
                  <a:lnTo>
                    <a:pt x="8418811" y="0"/>
                  </a:lnTo>
                  <a:lnTo>
                    <a:pt x="8179597" y="414303"/>
                  </a:lnTo>
                  <a:lnTo>
                    <a:pt x="7618582" y="414303"/>
                  </a:lnTo>
                  <a:lnTo>
                    <a:pt x="7379274" y="0"/>
                  </a:lnTo>
                  <a:lnTo>
                    <a:pt x="7359940" y="0"/>
                  </a:lnTo>
                  <a:lnTo>
                    <a:pt x="7603955" y="422558"/>
                  </a:lnTo>
                  <a:lnTo>
                    <a:pt x="7323337" y="908447"/>
                  </a:lnTo>
                  <a:lnTo>
                    <a:pt x="6762100" y="908447"/>
                  </a:lnTo>
                  <a:lnTo>
                    <a:pt x="6481482" y="422503"/>
                  </a:lnTo>
                  <a:lnTo>
                    <a:pt x="6725445" y="0"/>
                  </a:lnTo>
                  <a:lnTo>
                    <a:pt x="6706132" y="0"/>
                  </a:lnTo>
                  <a:lnTo>
                    <a:pt x="6466910" y="414303"/>
                  </a:lnTo>
                  <a:lnTo>
                    <a:pt x="5905508" y="414303"/>
                  </a:lnTo>
                  <a:lnTo>
                    <a:pt x="5666338" y="0"/>
                  </a:lnTo>
                  <a:lnTo>
                    <a:pt x="5646974" y="0"/>
                  </a:lnTo>
                  <a:lnTo>
                    <a:pt x="5891214" y="422946"/>
                  </a:lnTo>
                  <a:lnTo>
                    <a:pt x="5618463" y="895261"/>
                  </a:lnTo>
                  <a:lnTo>
                    <a:pt x="5610706" y="908835"/>
                  </a:lnTo>
                  <a:lnTo>
                    <a:pt x="5049192" y="908835"/>
                  </a:lnTo>
                  <a:lnTo>
                    <a:pt x="4769017" y="423556"/>
                  </a:lnTo>
                  <a:lnTo>
                    <a:pt x="5013591" y="0"/>
                  </a:lnTo>
                  <a:lnTo>
                    <a:pt x="4993649" y="0"/>
                  </a:lnTo>
                  <a:lnTo>
                    <a:pt x="4754058" y="414857"/>
                  </a:lnTo>
                  <a:lnTo>
                    <a:pt x="4193652" y="414857"/>
                  </a:lnTo>
                  <a:lnTo>
                    <a:pt x="3954146" y="0"/>
                  </a:lnTo>
                  <a:lnTo>
                    <a:pt x="3934827" y="0"/>
                  </a:lnTo>
                  <a:lnTo>
                    <a:pt x="4178860" y="422669"/>
                  </a:lnTo>
                  <a:lnTo>
                    <a:pt x="3898186" y="909056"/>
                  </a:lnTo>
                  <a:lnTo>
                    <a:pt x="3337503" y="909056"/>
                  </a:lnTo>
                  <a:lnTo>
                    <a:pt x="3056829" y="422946"/>
                  </a:lnTo>
                  <a:lnTo>
                    <a:pt x="3300979" y="0"/>
                  </a:lnTo>
                  <a:lnTo>
                    <a:pt x="3281513" y="0"/>
                  </a:lnTo>
                  <a:lnTo>
                    <a:pt x="3042203" y="414691"/>
                  </a:lnTo>
                  <a:lnTo>
                    <a:pt x="2480855" y="414691"/>
                  </a:lnTo>
                  <a:lnTo>
                    <a:pt x="2241403" y="0"/>
                  </a:lnTo>
                  <a:lnTo>
                    <a:pt x="2222087" y="0"/>
                  </a:lnTo>
                  <a:lnTo>
                    <a:pt x="2466505" y="423389"/>
                  </a:lnTo>
                  <a:lnTo>
                    <a:pt x="2214697" y="859580"/>
                  </a:lnTo>
                  <a:lnTo>
                    <a:pt x="2186053" y="909278"/>
                  </a:lnTo>
                  <a:lnTo>
                    <a:pt x="1624539" y="909278"/>
                  </a:lnTo>
                  <a:lnTo>
                    <a:pt x="1344087" y="423445"/>
                  </a:lnTo>
                  <a:lnTo>
                    <a:pt x="1588559" y="0"/>
                  </a:lnTo>
                  <a:lnTo>
                    <a:pt x="1569223" y="0"/>
                  </a:lnTo>
                  <a:lnTo>
                    <a:pt x="1329461" y="415301"/>
                  </a:lnTo>
                  <a:lnTo>
                    <a:pt x="768446" y="415301"/>
                  </a:lnTo>
                  <a:lnTo>
                    <a:pt x="528589" y="0"/>
                  </a:lnTo>
                  <a:lnTo>
                    <a:pt x="509180" y="0"/>
                  </a:lnTo>
                  <a:lnTo>
                    <a:pt x="753764" y="423667"/>
                  </a:lnTo>
                  <a:lnTo>
                    <a:pt x="473201" y="909444"/>
                  </a:lnTo>
                  <a:lnTo>
                    <a:pt x="0" y="909444"/>
                  </a:lnTo>
                  <a:lnTo>
                    <a:pt x="0" y="926120"/>
                  </a:lnTo>
                  <a:lnTo>
                    <a:pt x="473201" y="926120"/>
                  </a:lnTo>
                  <a:lnTo>
                    <a:pt x="754041" y="1412285"/>
                  </a:lnTo>
                  <a:lnTo>
                    <a:pt x="473533" y="1898063"/>
                  </a:lnTo>
                  <a:lnTo>
                    <a:pt x="0" y="1898063"/>
                  </a:lnTo>
                  <a:lnTo>
                    <a:pt x="0" y="1914850"/>
                  </a:lnTo>
                  <a:lnTo>
                    <a:pt x="473533" y="1914850"/>
                  </a:lnTo>
                  <a:lnTo>
                    <a:pt x="753875" y="2400517"/>
                  </a:lnTo>
                  <a:lnTo>
                    <a:pt x="473201" y="2886737"/>
                  </a:lnTo>
                  <a:lnTo>
                    <a:pt x="0" y="2886737"/>
                  </a:lnTo>
                  <a:lnTo>
                    <a:pt x="0" y="2903414"/>
                  </a:lnTo>
                  <a:lnTo>
                    <a:pt x="472924" y="2903414"/>
                  </a:lnTo>
                  <a:lnTo>
                    <a:pt x="753597" y="3389579"/>
                  </a:lnTo>
                  <a:lnTo>
                    <a:pt x="473201" y="3875245"/>
                  </a:lnTo>
                  <a:lnTo>
                    <a:pt x="0" y="3875245"/>
                  </a:lnTo>
                  <a:lnTo>
                    <a:pt x="0" y="3892032"/>
                  </a:lnTo>
                  <a:lnTo>
                    <a:pt x="473367" y="3892032"/>
                  </a:lnTo>
                  <a:lnTo>
                    <a:pt x="753875" y="4377921"/>
                  </a:lnTo>
                  <a:lnTo>
                    <a:pt x="473201" y="4863975"/>
                  </a:lnTo>
                  <a:lnTo>
                    <a:pt x="0" y="4863975"/>
                  </a:lnTo>
                  <a:lnTo>
                    <a:pt x="0" y="4880651"/>
                  </a:lnTo>
                  <a:lnTo>
                    <a:pt x="473422" y="4880651"/>
                  </a:lnTo>
                  <a:lnTo>
                    <a:pt x="754041" y="5366650"/>
                  </a:lnTo>
                  <a:lnTo>
                    <a:pt x="473478" y="5852538"/>
                  </a:lnTo>
                  <a:lnTo>
                    <a:pt x="0" y="5852538"/>
                  </a:lnTo>
                  <a:lnTo>
                    <a:pt x="0" y="5869436"/>
                  </a:lnTo>
                  <a:lnTo>
                    <a:pt x="473699" y="5869436"/>
                  </a:lnTo>
                  <a:lnTo>
                    <a:pt x="754262" y="6355158"/>
                  </a:lnTo>
                  <a:lnTo>
                    <a:pt x="473644" y="6841324"/>
                  </a:lnTo>
                  <a:lnTo>
                    <a:pt x="0" y="6841324"/>
                  </a:lnTo>
                  <a:lnTo>
                    <a:pt x="0" y="6858000"/>
                  </a:lnTo>
                  <a:lnTo>
                    <a:pt x="483173" y="6858000"/>
                  </a:lnTo>
                  <a:lnTo>
                    <a:pt x="773377" y="6355214"/>
                  </a:lnTo>
                  <a:lnTo>
                    <a:pt x="487938" y="5860849"/>
                  </a:lnTo>
                  <a:lnTo>
                    <a:pt x="773266" y="5366761"/>
                  </a:lnTo>
                  <a:lnTo>
                    <a:pt x="487716" y="4872175"/>
                  </a:lnTo>
                  <a:lnTo>
                    <a:pt x="773099" y="4378031"/>
                  </a:lnTo>
                  <a:lnTo>
                    <a:pt x="487606" y="3883611"/>
                  </a:lnTo>
                  <a:lnTo>
                    <a:pt x="768002" y="3398111"/>
                  </a:lnTo>
                  <a:lnTo>
                    <a:pt x="1338990" y="3398111"/>
                  </a:lnTo>
                  <a:lnTo>
                    <a:pt x="1624539" y="2903469"/>
                  </a:lnTo>
                  <a:lnTo>
                    <a:pt x="2185943" y="2903469"/>
                  </a:lnTo>
                  <a:lnTo>
                    <a:pt x="2466505" y="3389246"/>
                  </a:lnTo>
                  <a:lnTo>
                    <a:pt x="2185887" y="3875245"/>
                  </a:lnTo>
                  <a:lnTo>
                    <a:pt x="1615010" y="3875245"/>
                  </a:lnTo>
                  <a:lnTo>
                    <a:pt x="1324807" y="4378031"/>
                  </a:lnTo>
                  <a:lnTo>
                    <a:pt x="1610245" y="4872396"/>
                  </a:lnTo>
                  <a:lnTo>
                    <a:pt x="1324973" y="5366595"/>
                  </a:lnTo>
                  <a:lnTo>
                    <a:pt x="1615232" y="5869215"/>
                  </a:lnTo>
                  <a:lnTo>
                    <a:pt x="2195693" y="5869215"/>
                  </a:lnTo>
                  <a:lnTo>
                    <a:pt x="2485952" y="5366539"/>
                  </a:lnTo>
                  <a:lnTo>
                    <a:pt x="2200403" y="4872064"/>
                  </a:lnTo>
                  <a:lnTo>
                    <a:pt x="2481021" y="4386120"/>
                  </a:lnTo>
                  <a:lnTo>
                    <a:pt x="3042369" y="4386120"/>
                  </a:lnTo>
                  <a:lnTo>
                    <a:pt x="3327641" y="4880263"/>
                  </a:lnTo>
                  <a:lnTo>
                    <a:pt x="3908214" y="4880263"/>
                  </a:lnTo>
                  <a:lnTo>
                    <a:pt x="4193541" y="4386120"/>
                  </a:lnTo>
                  <a:lnTo>
                    <a:pt x="4764474" y="4386120"/>
                  </a:lnTo>
                  <a:lnTo>
                    <a:pt x="5050023" y="3891478"/>
                  </a:lnTo>
                  <a:lnTo>
                    <a:pt x="5620734" y="3891478"/>
                  </a:lnTo>
                  <a:lnTo>
                    <a:pt x="5906173" y="3396948"/>
                  </a:lnTo>
                  <a:lnTo>
                    <a:pt x="6476938" y="3396948"/>
                  </a:lnTo>
                  <a:lnTo>
                    <a:pt x="6762488" y="2902416"/>
                  </a:lnTo>
                  <a:lnTo>
                    <a:pt x="7333199" y="2902416"/>
                  </a:lnTo>
                  <a:lnTo>
                    <a:pt x="7618637" y="2408218"/>
                  </a:lnTo>
                  <a:lnTo>
                    <a:pt x="8189569" y="2408218"/>
                  </a:lnTo>
                  <a:lnTo>
                    <a:pt x="8475063" y="1913631"/>
                  </a:lnTo>
                  <a:lnTo>
                    <a:pt x="9045830" y="1913631"/>
                  </a:lnTo>
                  <a:lnTo>
                    <a:pt x="9331379" y="1419100"/>
                  </a:lnTo>
                  <a:lnTo>
                    <a:pt x="9902145" y="1419100"/>
                  </a:lnTo>
                  <a:lnTo>
                    <a:pt x="10187584" y="924680"/>
                  </a:lnTo>
                  <a:lnTo>
                    <a:pt x="10758184" y="924680"/>
                  </a:lnTo>
                  <a:lnTo>
                    <a:pt x="11043511" y="430537"/>
                  </a:lnTo>
                  <a:lnTo>
                    <a:pt x="11614444" y="430537"/>
                  </a:lnTo>
                  <a:close/>
                </a:path>
              </a:pathLst>
            </a:custGeom>
            <a:solidFill>
              <a:schemeClr val="accent5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9" name="Picture 19" descr="Gavi-logo - The Rockefeller Foundation">
            <a:extLst>
              <a:ext uri="{FF2B5EF4-FFF2-40B4-BE49-F238E27FC236}">
                <a16:creationId xmlns:a16="http://schemas.microsoft.com/office/drawing/2014/main" id="{91670609-4AC7-4755-883F-480F58726A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45"/>
          <a:stretch/>
        </p:blipFill>
        <p:spPr bwMode="ltGray">
          <a:xfrm>
            <a:off x="525802" y="2586861"/>
            <a:ext cx="1525462" cy="56669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World Health Organization (WHO) – Logos Download">
            <a:extLst>
              <a:ext uri="{FF2B5EF4-FFF2-40B4-BE49-F238E27FC236}">
                <a16:creationId xmlns:a16="http://schemas.microsoft.com/office/drawing/2014/main" id="{1BB7E67F-B980-424D-BC88-EA4118E7E9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533703" y="2578553"/>
            <a:ext cx="2135706" cy="6301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C31E93E6-D8A7-4DA5-A473-05691AC87B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2" y="1783462"/>
            <a:ext cx="1354280" cy="3981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7D74A622-9FEC-47DB-8F82-F0FB23E2276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2" y="6312004"/>
            <a:ext cx="66031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D05A6F9C-2B50-4D01-8CEE-A681E5B79C2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2" y="5901632"/>
            <a:ext cx="66031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4A0C779C-C2FF-4A27-A2DA-A54B7440BBD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2" y="3952377"/>
            <a:ext cx="6603131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7151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3398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004178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7993358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5159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F63A30-208B-4E1C-84E5-495A21BE33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812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5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56157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39A8E68-A374-4DC8-A93F-4268A73EB6AD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74420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E75C348-73B0-41AE-9D2B-FE7D86D54583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96715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2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C4E05E8-936F-4033-8E28-43D9D2170557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42910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50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BD8C3CA-1B4B-440A-89B5-F939DD2975DE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29739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7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F1AC84-6DFB-4987-8CB6-D62E3F5563A0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noProof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noProof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45207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36933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8924361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2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5574042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53430D4-7C5D-4CF9-BDBD-E1A8EECB92C4}"/>
              </a:ext>
            </a:extLst>
          </p:cNvPr>
          <p:cNvGrpSpPr/>
          <p:nvPr userDrawn="1"/>
        </p:nvGrpSpPr>
        <p:grpSpPr>
          <a:xfrm>
            <a:off x="2751423" y="3068149"/>
            <a:ext cx="6689154" cy="721703"/>
            <a:chOff x="5138582" y="5814433"/>
            <a:chExt cx="6689154" cy="721703"/>
          </a:xfrm>
        </p:grpSpPr>
        <p:pic>
          <p:nvPicPr>
            <p:cNvPr id="5" name="Picture 19" descr="Gavi-logo - The Rockefeller Foundation">
              <a:extLst>
                <a:ext uri="{FF2B5EF4-FFF2-40B4-BE49-F238E27FC236}">
                  <a16:creationId xmlns:a16="http://schemas.microsoft.com/office/drawing/2014/main" id="{0154AF5A-AF00-4CDA-AA01-149030E622D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9667" y="5839123"/>
              <a:ext cx="1792858" cy="672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World Health Organization (WHO) – Logos Download">
              <a:extLst>
                <a:ext uri="{FF2B5EF4-FFF2-40B4-BE49-F238E27FC236}">
                  <a16:creationId xmlns:a16="http://schemas.microsoft.com/office/drawing/2014/main" id="{68131BD8-6DEE-4EC5-A661-84E44336A75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81716" y="5814433"/>
              <a:ext cx="2446020" cy="721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3" descr="Coalition for Epidemic Preparedness Innovations - Wikiwand">
              <a:extLst>
                <a:ext uri="{FF2B5EF4-FFF2-40B4-BE49-F238E27FC236}">
                  <a16:creationId xmlns:a16="http://schemas.microsoft.com/office/drawing/2014/main" id="{80F97074-D4FF-49B2-813C-6FDB4CA6DE9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8582" y="5935396"/>
              <a:ext cx="1631894" cy="479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6851658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70"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6170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25B36F-EBBA-4B37-890D-6C23F93025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3348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B6A71E-1309-43BE-98D4-E80EDC745F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192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4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321190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2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E06B387-453E-41B1-AF78-A5B50AEC8B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35" name="Picture 34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6" name="Freeform 35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4454048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5323725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8699" y="733510"/>
            <a:ext cx="3751126" cy="116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Connector 44"/>
          <p:cNvCxnSpPr>
            <a:cxnSpLocks/>
          </p:cNvCxnSpPr>
          <p:nvPr userDrawn="1"/>
        </p:nvCxnSpPr>
        <p:spPr>
          <a:xfrm flipH="1">
            <a:off x="4107094" y="5227439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  <p:pic>
        <p:nvPicPr>
          <p:cNvPr id="71685" name="Picture 5" descr="UNICEF logo and symbol, meaning, history, PNG">
            <a:extLst>
              <a:ext uri="{FF2B5EF4-FFF2-40B4-BE49-F238E27FC236}">
                <a16:creationId xmlns:a16="http://schemas.microsoft.com/office/drawing/2014/main" id="{8BD6AEBA-78F1-4176-87DC-31E0EFBADB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0932" y="1288054"/>
            <a:ext cx="3469820" cy="121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9" name="Picture 9" descr="Gavi-logo - The Rockefeller Foundation">
            <a:extLst>
              <a:ext uri="{FF2B5EF4-FFF2-40B4-BE49-F238E27FC236}">
                <a16:creationId xmlns:a16="http://schemas.microsoft.com/office/drawing/2014/main" id="{0B8A51C6-0E3C-44B6-ABB0-40D445C3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248" y="2256405"/>
            <a:ext cx="3300011" cy="123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06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25B36F-EBBA-4B37-890D-6C23F93025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5748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509B84D-6902-43AB-A50E-68D1C64A46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5510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A9744F-E49D-4A5A-BF3E-A5E4A36197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7958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C1FC9E-B4C2-4344-A49B-38747B358F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438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ECECBC8-610F-4820-AD59-735433A008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02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71DD386-F95C-441A-8914-484C42028F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1159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4D3F40-03B6-44EA-88EF-ED25EFFC38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4826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F9E554-3C1C-41B6-ADC5-76517CC50A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798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4BBCA6-33C4-4DC0-86AC-6DF49E6FE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216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2A932-890E-46EC-9EF7-AD3F8BA39E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2504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B8BC47-041A-4751-941A-C941934642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72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E322802-4AC0-42E6-A685-79504F50E2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4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2F71FE6-85A3-4911-90C9-5C0550F455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1239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6349C-BFE1-4B78-8A22-38DBB1A761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56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0B6F1-9BF7-49C1-BFDC-6F3BFD96B5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838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22A85B-4EAC-4944-A5FC-148ECB93AB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13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62FE4F-21CA-4B83-8C04-0FB77B9045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2407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7D0C755-088E-4CCC-80FC-EAEF790C35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35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F63A30-208B-4E1C-84E5-495A21BE33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239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914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B6A71E-1309-43BE-98D4-E80EDC745F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7131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4BBCA6-33C4-4DC0-86AC-6DF49E6FE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3680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3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976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EA0AB88-5795-4C47-8BF4-EC64C2B098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5144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135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356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440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5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744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345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9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F5D9C8D-DEFA-4E7E-AB5D-CFE067597A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19" name="Freeform 18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Working Draft Text"/>
            <p:cNvSpPr txBox="1">
              <a:spLocks noChangeArrowheads="1"/>
            </p:cNvSpPr>
            <p:nvPr userDrawn="1"/>
          </p:nvSpPr>
          <p:spPr bwMode="black">
            <a:xfrm>
              <a:off x="102735" y="400957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WORKING DRAFT</a:t>
              </a:r>
            </a:p>
          </p:txBody>
        </p:sp>
        <p:sp>
          <p:nvSpPr>
            <p:cNvPr id="28" name="Working Draft"/>
            <p:cNvSpPr txBox="1">
              <a:spLocks noChangeArrowheads="1"/>
            </p:cNvSpPr>
            <p:nvPr userDrawn="1"/>
          </p:nvSpPr>
          <p:spPr bwMode="black">
            <a:xfrm>
              <a:off x="102735" y="526567"/>
              <a:ext cx="248286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Last Modified 8/22/2018 2:01 AM India Standard Time</a:t>
              </a:r>
            </a:p>
          </p:txBody>
        </p:sp>
        <p:sp>
          <p:nvSpPr>
            <p:cNvPr id="29" name="Printed"/>
            <p:cNvSpPr txBox="1">
              <a:spLocks noChangeArrowheads="1"/>
            </p:cNvSpPr>
            <p:nvPr userDrawn="1"/>
          </p:nvSpPr>
          <p:spPr bwMode="black">
            <a:xfrm>
              <a:off x="102735" y="652179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Printed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32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70845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6E6F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EA0AB88-5795-4C47-8BF4-EC64C2B098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8003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0392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A3263-8BD0-4E5B-B206-734092AEE3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888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A09F54-B367-4F94-B4FE-024A97F972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863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C3D494-B485-44F0-8AC8-D92E9ADFBE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17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6965C6-3062-475A-878D-5F8F5441A1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19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4E4AFA-AF51-4B89-A56A-5D0002F808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071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11CA2C3-5B59-4E13-B08A-93866B71BB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401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6F8AEE-399D-49C2-9A4B-7A0E91F9B5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84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EF042D-2311-4AAC-8BCB-337E0D280D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933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D65D510-57E0-48AC-B123-791B1B5443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727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2033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228569-92E7-4F94-97C4-96C4AF32A0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845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8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3903CD-79B0-43FD-836F-586B4C1AA8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597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EF8AA8-6187-45F7-A660-76CB22AF7E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8830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F41425-6A42-4A49-BB8A-6F4A9FB732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14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3025CA-603B-4497-897A-183E0DFEE0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6277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3D9B6-5E48-4575-A4BD-F2D65163B1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595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7E667AF-DC50-4D0E-AE24-A55099D829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6832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DB430AF-BDC3-4DCE-ACCC-DF9C7C38D1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281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45E570-5CF0-4437-BED6-00515DD2F7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5592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F4B130-74A8-441E-912C-AE9C313FFE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0968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41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663F25-E17A-4E33-BA1E-606C243888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1166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2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415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C89916-D7EB-4C77-9FA9-376D90E5E6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025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822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090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980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2169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035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916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2190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9304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962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621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49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6898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969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96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8999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756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0058017-90B8-49DD-BD91-104EAE08E4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0058017-90B8-49DD-BD91-104EAE08E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46C426-879F-4CD5-9998-F22DDE5525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27033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2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CCCD4C1-A8D4-4215-9B65-238A6E454EC9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4658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2066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0B6F1-9BF7-49C1-BFDC-6F3BFD96B5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1113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72475"/>
            <a:ext cx="10972801" cy="596295"/>
          </a:xfrm>
          <a:prstGeom prst="rect">
            <a:avLst/>
          </a:prstGeom>
        </p:spPr>
        <p:txBody>
          <a:bodyPr anchor="ctr"/>
          <a:lstStyle>
            <a:lvl1pPr algn="l"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09600" y="1287625"/>
            <a:ext cx="10972801" cy="4460033"/>
          </a:xfrm>
          <a:prstGeom prst="rect">
            <a:avLst/>
          </a:prstGeom>
        </p:spPr>
        <p:txBody>
          <a:bodyPr>
            <a:normAutofit/>
          </a:bodyPr>
          <a:lstStyle>
            <a:lvl1pPr marL="251460" indent="-251460">
              <a:buClr>
                <a:schemeClr val="accent1"/>
              </a:buClr>
              <a:buSzPct val="100000"/>
              <a:buFont typeface="Arial" charset="0"/>
              <a:buChar char="•"/>
              <a:defRPr>
                <a:solidFill>
                  <a:schemeClr val="tx1"/>
                </a:solidFill>
              </a:defRPr>
            </a:lvl1pPr>
            <a:lvl2pPr marL="557784" indent="-285750">
              <a:buClr>
                <a:schemeClr val="tx2"/>
              </a:buClr>
              <a:buSzPct val="100000"/>
              <a:buFont typeface=".AppleSystemUIFont" charset="-120"/>
              <a:buChar char="-"/>
              <a:defRPr lang="en-US" sz="18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22960" indent="-228600">
              <a:buClr>
                <a:schemeClr val="accent1"/>
              </a:buClr>
              <a:buSzPct val="90000"/>
              <a:buFont typeface="Arial" charset="0"/>
              <a:buChar char="•"/>
              <a:defRPr lang="en-US" sz="16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097280" indent="-228600">
              <a:buClr>
                <a:schemeClr val="tx2"/>
              </a:buClr>
              <a:buFont typeface=".HelveticaNeueDeskInterface-Regular" charset="0"/>
              <a:buChar char="-"/>
              <a:defRPr lang="en-US" sz="16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03070" indent="-285750">
              <a:buFont typeface="ArialMT" charset="0"/>
              <a:buChar char="–"/>
              <a:defRPr lang="en-US" sz="1600" kern="1200" dirty="0">
                <a:solidFill>
                  <a:srgbClr val="88817D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71504"/>
            <a:ext cx="512064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01978A-12D8-7341-B685-52B12E8D30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85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BDC1D-433B-4E16-85A9-DB4849073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01222-F3A4-480D-86CD-81DF7459A8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48174-7F55-49D5-856B-66799CF92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8295-AE51-4C02-93B4-7772FB1DE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C6BAD-7E8B-44FE-B282-4EF7EB0D7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3FF5-EC98-4436-B06A-5C7CB1ED8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263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5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rgbClr val="0070C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7770049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8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35" name="Picture 34"/>
            <p:cNvPicPr>
              <a:picLocks noChangeAspect="1" noChangeArrowheads="1"/>
            </p:cNvPicPr>
            <p:nvPr/>
          </p:nvPicPr>
          <p:blipFill rotWithShape="1">
            <a:blip r:embed="rId6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6" name="Freeform 35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Connector 44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98908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433" descr="Image result for who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3166" y="6301171"/>
            <a:ext cx="901060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825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700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923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189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84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418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4200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145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954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534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</a:t>
            </a:r>
            <a:r>
              <a:rPr lang="en-US" dirty="0" err="1"/>
              <a:t>wy</a:t>
            </a:r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006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845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3658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9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924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1643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107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F5D9C8D-DEFA-4E7E-AB5D-CFE067597A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19" name="Freeform 18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Working Draft Text"/>
            <p:cNvSpPr txBox="1">
              <a:spLocks noChangeArrowheads="1"/>
            </p:cNvSpPr>
            <p:nvPr userDrawn="1"/>
          </p:nvSpPr>
          <p:spPr bwMode="black">
            <a:xfrm>
              <a:off x="102735" y="400957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WORKING DRAFT</a:t>
              </a:r>
            </a:p>
          </p:txBody>
        </p:sp>
        <p:sp>
          <p:nvSpPr>
            <p:cNvPr id="28" name="Working Draft"/>
            <p:cNvSpPr txBox="1">
              <a:spLocks noChangeArrowheads="1"/>
            </p:cNvSpPr>
            <p:nvPr userDrawn="1"/>
          </p:nvSpPr>
          <p:spPr bwMode="black">
            <a:xfrm>
              <a:off x="102735" y="526567"/>
              <a:ext cx="248286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Last Modified 8/22/2018 2:01 AM India Standard Time</a:t>
              </a:r>
            </a:p>
          </p:txBody>
        </p:sp>
        <p:sp>
          <p:nvSpPr>
            <p:cNvPr id="29" name="Printed"/>
            <p:cNvSpPr txBox="1">
              <a:spLocks noChangeArrowheads="1"/>
            </p:cNvSpPr>
            <p:nvPr userDrawn="1"/>
          </p:nvSpPr>
          <p:spPr bwMode="black">
            <a:xfrm>
              <a:off x="102735" y="652179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Printed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32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45198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8820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36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8027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3030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88936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8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136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3380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750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9648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8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312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509B84D-6902-43AB-A50E-68D1C64A46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602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6296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0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716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020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5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17" name="Picture 16"/>
            <p:cNvPicPr>
              <a:picLocks noChangeAspect="1" noChangeArrowheads="1"/>
            </p:cNvPicPr>
            <p:nvPr/>
          </p:nvPicPr>
          <p:blipFill rotWithShape="1">
            <a:blip r:embed="rId6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19" name="Freeform 18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Working Draft Text"/>
            <p:cNvSpPr txBox="1">
              <a:spLocks noChangeArrowheads="1"/>
            </p:cNvSpPr>
            <p:nvPr userDrawn="1"/>
          </p:nvSpPr>
          <p:spPr bwMode="black">
            <a:xfrm>
              <a:off x="102735" y="400957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800" b="1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WORKING DRAFT</a:t>
              </a:r>
            </a:p>
          </p:txBody>
        </p:sp>
        <p:sp>
          <p:nvSpPr>
            <p:cNvPr id="28" name="Working Draft"/>
            <p:cNvSpPr txBox="1">
              <a:spLocks noChangeArrowheads="1"/>
            </p:cNvSpPr>
            <p:nvPr userDrawn="1"/>
          </p:nvSpPr>
          <p:spPr bwMode="black">
            <a:xfrm>
              <a:off x="102735" y="526567"/>
              <a:ext cx="248286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Last Modified 8/22/2018 2:01 AM India Standard Time</a:t>
              </a:r>
              <a:endParaRPr lang="en-GB" sz="800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9" name="Printed"/>
            <p:cNvSpPr txBox="1">
              <a:spLocks noChangeArrowheads="1"/>
            </p:cNvSpPr>
            <p:nvPr userDrawn="1"/>
          </p:nvSpPr>
          <p:spPr bwMode="black">
            <a:xfrm>
              <a:off x="102735" y="652179"/>
              <a:ext cx="207791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800" kern="0" dirty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+mn-lt"/>
                </a:rPr>
                <a:t>Printed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32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15646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433" descr="Image result for who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3165" y="6301171"/>
            <a:ext cx="901060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151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899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454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337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27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163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0556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A3263-8BD0-4E5B-B206-734092AEE3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5254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6710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6997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240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292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4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16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907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44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3001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158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161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A09F54-B367-4F94-B4FE-024A97F972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606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108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400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4620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1947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8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329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514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37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310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686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058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C3D494-B485-44F0-8AC8-D92E9ADFBE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76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2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788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9161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5666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704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95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300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6311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17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305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6756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6965C6-3062-475A-878D-5F8F5441A1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38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240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9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7202293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326D2-D3FA-2D41-97EE-8F342E3C62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0"/>
            <a:ext cx="9803296" cy="1646238"/>
          </a:xfrm>
          <a:solidFill>
            <a:schemeClr val="accent4">
              <a:lumMod val="20000"/>
              <a:lumOff val="80000"/>
              <a:alpha val="50000"/>
            </a:schemeClr>
          </a:solidFill>
        </p:spPr>
        <p:txBody>
          <a:bodyPr>
            <a:normAutofit/>
          </a:bodyPr>
          <a:lstStyle>
            <a:lvl1pPr>
              <a:defRPr sz="2800" b="1" spc="-100" baseline="0">
                <a:latin typeface="Helvetica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  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A101E-8DD9-8E4A-98AA-0D02553C98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Helvetica" pitchFamily="2" charset="0"/>
              </a:defRPr>
            </a:lvl1pPr>
            <a:lvl2pPr>
              <a:defRPr sz="1800">
                <a:latin typeface="Helvetica" pitchFamily="2" charset="0"/>
              </a:defRPr>
            </a:lvl2pPr>
            <a:lvl3pPr>
              <a:defRPr sz="1600">
                <a:latin typeface="Helvetica" pitchFamily="2" charset="0"/>
              </a:defRPr>
            </a:lvl3pPr>
            <a:lvl4pPr>
              <a:defRPr sz="1400">
                <a:latin typeface="Helvetica" pitchFamily="2" charset="0"/>
              </a:defRPr>
            </a:lvl4pPr>
            <a:lvl5pPr>
              <a:defRPr sz="1400">
                <a:latin typeface="Helvetica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0295AB-DA28-4642-81A0-9970529793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Helvetica" pitchFamily="2" charset="0"/>
              </a:defRPr>
            </a:lvl1pPr>
            <a:lvl2pPr>
              <a:defRPr sz="1800">
                <a:latin typeface="Helvetica" pitchFamily="2" charset="0"/>
              </a:defRPr>
            </a:lvl2pPr>
            <a:lvl3pPr>
              <a:defRPr sz="1600">
                <a:latin typeface="Helvetica" pitchFamily="2" charset="0"/>
              </a:defRPr>
            </a:lvl3pPr>
            <a:lvl4pPr>
              <a:defRPr sz="1400">
                <a:latin typeface="Helvetica" pitchFamily="2" charset="0"/>
              </a:defRPr>
            </a:lvl4pPr>
            <a:lvl5pPr>
              <a:defRPr sz="1400">
                <a:latin typeface="Helvetica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284D6D-031C-8B4D-8B0D-24E904B16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841E9F-BC35-4049-B5F7-1EC7E3F08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77B4C-482E-144A-81B7-365579AA4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BDB0-8DC3-4D4B-8D54-7E8DDF3FA9E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498715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2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CCCD4C1-A8D4-4215-9B65-238A6E454EC9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01056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72475"/>
            <a:ext cx="10972801" cy="596295"/>
          </a:xfrm>
          <a:prstGeom prst="rect">
            <a:avLst/>
          </a:prstGeom>
        </p:spPr>
        <p:txBody>
          <a:bodyPr anchor="ctr"/>
          <a:lstStyle>
            <a:lvl1pPr algn="l"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09600" y="1287625"/>
            <a:ext cx="10972801" cy="4460033"/>
          </a:xfrm>
          <a:prstGeom prst="rect">
            <a:avLst/>
          </a:prstGeom>
        </p:spPr>
        <p:txBody>
          <a:bodyPr>
            <a:normAutofit/>
          </a:bodyPr>
          <a:lstStyle>
            <a:lvl1pPr marL="251460" indent="-251460">
              <a:buClr>
                <a:schemeClr val="accent1"/>
              </a:buClr>
              <a:buSzPct val="100000"/>
              <a:buFont typeface="Arial" charset="0"/>
              <a:buChar char="•"/>
              <a:defRPr>
                <a:solidFill>
                  <a:schemeClr val="tx1"/>
                </a:solidFill>
              </a:defRPr>
            </a:lvl1pPr>
            <a:lvl2pPr marL="557784" indent="-285750">
              <a:buClr>
                <a:schemeClr val="tx2"/>
              </a:buClr>
              <a:buSzPct val="100000"/>
              <a:buFont typeface=".AppleSystemUIFont" charset="-120"/>
              <a:buChar char="-"/>
              <a:defRPr lang="en-US" sz="18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22960" indent="-228600">
              <a:buClr>
                <a:schemeClr val="accent1"/>
              </a:buClr>
              <a:buSzPct val="90000"/>
              <a:buFont typeface="Arial" charset="0"/>
              <a:buChar char="•"/>
              <a:defRPr lang="en-US" sz="16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097280" indent="-228600">
              <a:buClr>
                <a:schemeClr val="tx2"/>
              </a:buClr>
              <a:buFont typeface=".HelveticaNeueDeskInterface-Regular" charset="0"/>
              <a:buChar char="-"/>
              <a:defRPr lang="en-US" sz="16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03070" indent="-285750">
              <a:buFont typeface="ArialMT" charset="0"/>
              <a:buChar char="–"/>
              <a:defRPr lang="en-US" sz="1600" kern="1200" dirty="0">
                <a:solidFill>
                  <a:srgbClr val="88817D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71504"/>
            <a:ext cx="512064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01978A-12D8-7341-B685-52B12E8D30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693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BDC1D-433B-4E16-85A9-DB4849073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01222-F3A4-480D-86CD-81DF7459A8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48174-7F55-49D5-856B-66799CF92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8295-AE51-4C02-93B4-7772FB1DE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C6BAD-7E8B-44FE-B282-4EF7EB0D7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3FF5-EC98-4436-B06A-5C7CB1ED8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29408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;p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5EE9726-ABDB-4430-AF6D-7D9FBF9B3533}" type="slidenum">
              <a:rPr/>
              <a:t>‹#›</a:t>
            </a:fld>
            <a:endParaRPr lang="en-US"/>
          </a:p>
        </p:txBody>
      </p:sp>
      <p:sp>
        <p:nvSpPr>
          <p:cNvPr id="3" name="Google Shape;29;p3"/>
          <p:cNvSpPr txBox="1">
            <a:spLocks noGrp="1"/>
          </p:cNvSpPr>
          <p:nvPr>
            <p:ph type="body" idx="4294967295"/>
          </p:nvPr>
        </p:nvSpPr>
        <p:spPr>
          <a:xfrm>
            <a:off x="479995" y="6293650"/>
            <a:ext cx="11226363" cy="208574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/>
          </a:p>
        </p:txBody>
      </p:sp>
      <p:sp>
        <p:nvSpPr>
          <p:cNvPr id="4" name="Google Shape;30;p3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9930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4E4AFA-AF51-4B89-A56A-5D0002F808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373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11CA2C3-5B59-4E13-B08A-93866B71BB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599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6F8AEE-399D-49C2-9A4B-7A0E91F9B5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968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EF042D-2311-4AAC-8BCB-337E0D280D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430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D65D510-57E0-48AC-B123-791B1B5443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823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A9744F-E49D-4A5A-BF3E-A5E4A36197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527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228569-92E7-4F94-97C4-96C4AF32A0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618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3903CD-79B0-43FD-836F-586B4C1AA8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791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EF8AA8-6187-45F7-A660-76CB22AF7E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4294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F41425-6A42-4A49-BB8A-6F4A9FB732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435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3025CA-603B-4497-897A-183E0DFEE0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1814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3D9B6-5E48-4575-A4BD-F2D65163B1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72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7E667AF-DC50-4D0E-AE24-A55099D829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400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DB430AF-BDC3-4DCE-ACCC-DF9C7C38D1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3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45E570-5CF0-4437-BED6-00515DD2F7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156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F4B130-74A8-441E-912C-AE9C313FFE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09368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C1FC9E-B4C2-4344-A49B-38747B358F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532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663F25-E17A-4E33-BA1E-606C243888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3997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836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6E6F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C89916-D7EB-4C77-9FA9-376D90E5E6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061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525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7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769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7181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546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467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5339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ECECBC8-610F-4820-AD59-735433A008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331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95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29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4908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600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489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14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1847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244C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01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0058017-90B8-49DD-BD91-104EAE08E4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0058017-90B8-49DD-BD91-104EAE08E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46C426-879F-4CD5-9998-F22DDE5525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34633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2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CCCD4C1-A8D4-4215-9B65-238A6E454EC9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64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71DD386-F95C-441A-8914-484C42028F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624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72475"/>
            <a:ext cx="10972801" cy="596295"/>
          </a:xfrm>
          <a:prstGeom prst="rect">
            <a:avLst/>
          </a:prstGeom>
        </p:spPr>
        <p:txBody>
          <a:bodyPr anchor="ctr"/>
          <a:lstStyle>
            <a:lvl1pPr algn="l"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09600" y="1287625"/>
            <a:ext cx="10972801" cy="4460033"/>
          </a:xfrm>
          <a:prstGeom prst="rect">
            <a:avLst/>
          </a:prstGeom>
        </p:spPr>
        <p:txBody>
          <a:bodyPr>
            <a:normAutofit/>
          </a:bodyPr>
          <a:lstStyle>
            <a:lvl1pPr marL="251460" indent="-251460">
              <a:buClr>
                <a:schemeClr val="accent1"/>
              </a:buClr>
              <a:buSzPct val="100000"/>
              <a:buFont typeface="Arial" charset="0"/>
              <a:buChar char="•"/>
              <a:defRPr>
                <a:solidFill>
                  <a:schemeClr val="tx1"/>
                </a:solidFill>
              </a:defRPr>
            </a:lvl1pPr>
            <a:lvl2pPr marL="557784" indent="-285750">
              <a:buClr>
                <a:schemeClr val="tx2"/>
              </a:buClr>
              <a:buSzPct val="100000"/>
              <a:buFont typeface=".AppleSystemUIFont" charset="-120"/>
              <a:buChar char="-"/>
              <a:defRPr lang="en-US" sz="18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22960" indent="-228600">
              <a:buClr>
                <a:schemeClr val="accent1"/>
              </a:buClr>
              <a:buSzPct val="90000"/>
              <a:buFont typeface="Arial" charset="0"/>
              <a:buChar char="•"/>
              <a:defRPr lang="en-US" sz="16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097280" indent="-228600">
              <a:buClr>
                <a:schemeClr val="tx2"/>
              </a:buClr>
              <a:buFont typeface=".HelveticaNeueDeskInterface-Regular" charset="0"/>
              <a:buChar char="-"/>
              <a:defRPr lang="en-US" sz="16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03070" indent="-285750">
              <a:buFont typeface="ArialMT" charset="0"/>
              <a:buChar char="–"/>
              <a:defRPr lang="en-US" sz="1600" kern="1200" dirty="0">
                <a:solidFill>
                  <a:srgbClr val="88817D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71504"/>
            <a:ext cx="512064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01978A-12D8-7341-B685-52B12E8D30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004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366055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BDC1D-433B-4E16-85A9-DB4849073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01222-F3A4-480D-86CD-81DF7459A8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48174-7F55-49D5-856B-66799CF92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8295-AE51-4C02-93B4-7772FB1DE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C6BAD-7E8B-44FE-B282-4EF7EB0D7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3FF5-EC98-4436-B06A-5C7CB1ED8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8919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;p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5EE9726-ABDB-4430-AF6D-7D9FBF9B3533}" type="slidenum">
              <a:rPr/>
              <a:t>‹#›</a:t>
            </a:fld>
            <a:endParaRPr lang="en-US"/>
          </a:p>
        </p:txBody>
      </p:sp>
      <p:sp>
        <p:nvSpPr>
          <p:cNvPr id="3" name="Google Shape;29;p3"/>
          <p:cNvSpPr txBox="1">
            <a:spLocks noGrp="1"/>
          </p:cNvSpPr>
          <p:nvPr>
            <p:ph type="body" idx="4294967295"/>
          </p:nvPr>
        </p:nvSpPr>
        <p:spPr>
          <a:xfrm>
            <a:off x="479995" y="6293650"/>
            <a:ext cx="11226363" cy="208574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/>
          </a:p>
        </p:txBody>
      </p:sp>
      <p:sp>
        <p:nvSpPr>
          <p:cNvPr id="4" name="Google Shape;30;p3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36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1">
            <a:extLst>
              <a:ext uri="{FF2B5EF4-FFF2-40B4-BE49-F238E27FC236}">
                <a16:creationId xmlns:a16="http://schemas.microsoft.com/office/drawing/2014/main" id="{A1A028A7-4594-434B-BE6F-BEA80B344467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pic>
        <p:nvPicPr>
          <p:cNvPr id="27" name="Picture 19" descr="Gavi-logo - The Rockefeller Foundation">
            <a:extLst>
              <a:ext uri="{FF2B5EF4-FFF2-40B4-BE49-F238E27FC236}">
                <a16:creationId xmlns:a16="http://schemas.microsoft.com/office/drawing/2014/main" id="{82C6EE3B-2CF9-47B1-A455-56535EBCAFD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45"/>
          <a:stretch/>
        </p:blipFill>
        <p:spPr bwMode="ltGray">
          <a:xfrm>
            <a:off x="2594762" y="684581"/>
            <a:ext cx="1601001" cy="5947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 descr="World Health Organization (WHO) – Logos Download">
            <a:extLst>
              <a:ext uri="{FF2B5EF4-FFF2-40B4-BE49-F238E27FC236}">
                <a16:creationId xmlns:a16="http://schemas.microsoft.com/office/drawing/2014/main" id="{73C44A5D-E65B-4EA7-A8DE-923C1E1D2E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768936" y="651284"/>
            <a:ext cx="2241464" cy="6613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41612DC1-CABB-4EC3-A0BE-DAF64FFA29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2" y="764281"/>
            <a:ext cx="1480798" cy="4353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79028CEE-2D24-4687-A0D5-F56AB2C502E7}"/>
              </a:ext>
            </a:extLst>
          </p:cNvPr>
          <p:cNvSpPr/>
          <p:nvPr userDrawn="1"/>
        </p:nvSpPr>
        <p:spPr bwMode="ltGray">
          <a:xfrm flipH="1" flipV="1">
            <a:off x="7366000" y="0"/>
            <a:ext cx="4826000" cy="4826000"/>
          </a:xfrm>
          <a:prstGeom prst="rtTriangle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DCB4FFCD-79D8-42F6-A6E0-BBB1AEBD54DD}"/>
              </a:ext>
            </a:extLst>
          </p:cNvPr>
          <p:cNvSpPr/>
          <p:nvPr userDrawn="1"/>
        </p:nvSpPr>
        <p:spPr bwMode="ltGray">
          <a:xfrm flipH="1" flipV="1">
            <a:off x="7532005" y="0"/>
            <a:ext cx="4659995" cy="4659995"/>
          </a:xfrm>
          <a:prstGeom prst="rtTriangle">
            <a:avLst/>
          </a:prstGeom>
          <a:solidFill>
            <a:srgbClr val="4D4D4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Right Triangle 31">
            <a:extLst>
              <a:ext uri="{FF2B5EF4-FFF2-40B4-BE49-F238E27FC236}">
                <a16:creationId xmlns:a16="http://schemas.microsoft.com/office/drawing/2014/main" id="{452C86B2-6A22-4FFD-B37E-8B8AAD682D4E}"/>
              </a:ext>
            </a:extLst>
          </p:cNvPr>
          <p:cNvSpPr/>
          <p:nvPr userDrawn="1"/>
        </p:nvSpPr>
        <p:spPr bwMode="ltGray">
          <a:xfrm>
            <a:off x="0" y="5003800"/>
            <a:ext cx="1854200" cy="1854200"/>
          </a:xfrm>
          <a:prstGeom prst="rtTriangl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1" y="4648511"/>
            <a:ext cx="81779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1" y="4150556"/>
            <a:ext cx="81779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1" y="2113720"/>
            <a:ext cx="8177931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6129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Rectangle 1">
            <a:extLst>
              <a:ext uri="{FF2B5EF4-FFF2-40B4-BE49-F238E27FC236}">
                <a16:creationId xmlns:a16="http://schemas.microsoft.com/office/drawing/2014/main" id="{8463E31F-1059-439D-81D0-6D61D7EE8E0F}"/>
              </a:ext>
            </a:extLst>
          </p:cNvPr>
          <p:cNvGrpSpPr/>
          <p:nvPr userDrawn="1"/>
        </p:nvGrpSpPr>
        <p:grpSpPr bwMode="lt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5" name="Rectangle 1">
              <a:extLst>
                <a:ext uri="{FF2B5EF4-FFF2-40B4-BE49-F238E27FC236}">
                  <a16:creationId xmlns:a16="http://schemas.microsoft.com/office/drawing/2014/main" id="{E12DE207-12CB-4F2F-B60B-B99BE889F95B}"/>
                </a:ext>
              </a:extLst>
            </p:cNvPr>
            <p:cNvSpPr/>
            <p:nvPr/>
          </p:nvSpPr>
          <p:spPr bwMode="ltGray"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600">
                <a:solidFill>
                  <a:schemeClr val="tx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E3816EB-3EEB-4E3B-97BF-685C6980D507}"/>
                </a:ext>
              </a:extLst>
            </p:cNvPr>
            <p:cNvSpPr/>
            <p:nvPr/>
          </p:nvSpPr>
          <p:spPr bwMode="ltGray">
            <a:xfrm flipH="1">
              <a:off x="328939" y="0"/>
              <a:ext cx="11863054" cy="6858000"/>
            </a:xfrm>
            <a:custGeom>
              <a:avLst/>
              <a:gdLst>
                <a:gd name="connsiteX0" fmla="*/ 2186275 w 11863054"/>
                <a:gd name="connsiteY0" fmla="*/ 4880651 h 6858000"/>
                <a:gd name="connsiteX1" fmla="*/ 2466727 w 11863054"/>
                <a:gd name="connsiteY1" fmla="*/ 5366539 h 6858000"/>
                <a:gd name="connsiteX2" fmla="*/ 2186109 w 11863054"/>
                <a:gd name="connsiteY2" fmla="*/ 5852538 h 6858000"/>
                <a:gd name="connsiteX3" fmla="*/ 1624817 w 11863054"/>
                <a:gd name="connsiteY3" fmla="*/ 5852538 h 6858000"/>
                <a:gd name="connsiteX4" fmla="*/ 1344198 w 11863054"/>
                <a:gd name="connsiteY4" fmla="*/ 5366539 h 6858000"/>
                <a:gd name="connsiteX5" fmla="*/ 1624650 w 11863054"/>
                <a:gd name="connsiteY5" fmla="*/ 4880651 h 6858000"/>
                <a:gd name="connsiteX6" fmla="*/ 2185887 w 11863054"/>
                <a:gd name="connsiteY6" fmla="*/ 3891755 h 6858000"/>
                <a:gd name="connsiteX7" fmla="*/ 2466505 w 11863054"/>
                <a:gd name="connsiteY7" fmla="*/ 4377921 h 6858000"/>
                <a:gd name="connsiteX8" fmla="*/ 2186053 w 11863054"/>
                <a:gd name="connsiteY8" fmla="*/ 4863753 h 6858000"/>
                <a:gd name="connsiteX9" fmla="*/ 1624539 w 11863054"/>
                <a:gd name="connsiteY9" fmla="*/ 4863753 h 6858000"/>
                <a:gd name="connsiteX10" fmla="*/ 1343977 w 11863054"/>
                <a:gd name="connsiteY10" fmla="*/ 4377921 h 6858000"/>
                <a:gd name="connsiteX11" fmla="*/ 1624650 w 11863054"/>
                <a:gd name="connsiteY11" fmla="*/ 3891755 h 6858000"/>
                <a:gd name="connsiteX12" fmla="*/ 3898518 w 11863054"/>
                <a:gd name="connsiteY12" fmla="*/ 3891700 h 6858000"/>
                <a:gd name="connsiteX13" fmla="*/ 4179137 w 11863054"/>
                <a:gd name="connsiteY13" fmla="*/ 4377644 h 6858000"/>
                <a:gd name="connsiteX14" fmla="*/ 3898518 w 11863054"/>
                <a:gd name="connsiteY14" fmla="*/ 4863642 h 6858000"/>
                <a:gd name="connsiteX15" fmla="*/ 3337226 w 11863054"/>
                <a:gd name="connsiteY15" fmla="*/ 4863642 h 6858000"/>
                <a:gd name="connsiteX16" fmla="*/ 3056718 w 11863054"/>
                <a:gd name="connsiteY16" fmla="*/ 4377644 h 6858000"/>
                <a:gd name="connsiteX17" fmla="*/ 3337337 w 11863054"/>
                <a:gd name="connsiteY17" fmla="*/ 3891700 h 6858000"/>
                <a:gd name="connsiteX18" fmla="*/ 4755000 w 11863054"/>
                <a:gd name="connsiteY18" fmla="*/ 3397502 h 6858000"/>
                <a:gd name="connsiteX19" fmla="*/ 5035508 w 11863054"/>
                <a:gd name="connsiteY19" fmla="*/ 3883389 h 6858000"/>
                <a:gd name="connsiteX20" fmla="*/ 4754778 w 11863054"/>
                <a:gd name="connsiteY20" fmla="*/ 4369444 h 6858000"/>
                <a:gd name="connsiteX21" fmla="*/ 4193652 w 11863054"/>
                <a:gd name="connsiteY21" fmla="*/ 4369444 h 6858000"/>
                <a:gd name="connsiteX22" fmla="*/ 3912978 w 11863054"/>
                <a:gd name="connsiteY22" fmla="*/ 3883223 h 6858000"/>
                <a:gd name="connsiteX23" fmla="*/ 4193541 w 11863054"/>
                <a:gd name="connsiteY23" fmla="*/ 3397502 h 6858000"/>
                <a:gd name="connsiteX24" fmla="*/ 3042147 w 11863054"/>
                <a:gd name="connsiteY24" fmla="*/ 3397391 h 6858000"/>
                <a:gd name="connsiteX25" fmla="*/ 3322710 w 11863054"/>
                <a:gd name="connsiteY25" fmla="*/ 3883389 h 6858000"/>
                <a:gd name="connsiteX26" fmla="*/ 3042147 w 11863054"/>
                <a:gd name="connsiteY26" fmla="*/ 4369444 h 6858000"/>
                <a:gd name="connsiteX27" fmla="*/ 2480966 w 11863054"/>
                <a:gd name="connsiteY27" fmla="*/ 4369444 h 6858000"/>
                <a:gd name="connsiteX28" fmla="*/ 2200292 w 11863054"/>
                <a:gd name="connsiteY28" fmla="*/ 3883389 h 6858000"/>
                <a:gd name="connsiteX29" fmla="*/ 2480911 w 11863054"/>
                <a:gd name="connsiteY29" fmla="*/ 3397391 h 6858000"/>
                <a:gd name="connsiteX30" fmla="*/ 3898186 w 11863054"/>
                <a:gd name="connsiteY30" fmla="*/ 2902970 h 6858000"/>
                <a:gd name="connsiteX31" fmla="*/ 4178860 w 11863054"/>
                <a:gd name="connsiteY31" fmla="*/ 3389136 h 6858000"/>
                <a:gd name="connsiteX32" fmla="*/ 3898463 w 11863054"/>
                <a:gd name="connsiteY32" fmla="*/ 3874857 h 6858000"/>
                <a:gd name="connsiteX33" fmla="*/ 3337115 w 11863054"/>
                <a:gd name="connsiteY33" fmla="*/ 3874857 h 6858000"/>
                <a:gd name="connsiteX34" fmla="*/ 3056607 w 11863054"/>
                <a:gd name="connsiteY34" fmla="*/ 3388969 h 6858000"/>
                <a:gd name="connsiteX35" fmla="*/ 3337115 w 11863054"/>
                <a:gd name="connsiteY35" fmla="*/ 2902970 h 6858000"/>
                <a:gd name="connsiteX36" fmla="*/ 5611205 w 11863054"/>
                <a:gd name="connsiteY36" fmla="*/ 2902915 h 6858000"/>
                <a:gd name="connsiteX37" fmla="*/ 5891712 w 11863054"/>
                <a:gd name="connsiteY37" fmla="*/ 3388748 h 6858000"/>
                <a:gd name="connsiteX38" fmla="*/ 5611149 w 11863054"/>
                <a:gd name="connsiteY38" fmla="*/ 3874857 h 6858000"/>
                <a:gd name="connsiteX39" fmla="*/ 5049857 w 11863054"/>
                <a:gd name="connsiteY39" fmla="*/ 3874857 h 6858000"/>
                <a:gd name="connsiteX40" fmla="*/ 4769239 w 11863054"/>
                <a:gd name="connsiteY40" fmla="*/ 3388969 h 6858000"/>
                <a:gd name="connsiteX41" fmla="*/ 5049857 w 11863054"/>
                <a:gd name="connsiteY41" fmla="*/ 2902915 h 6858000"/>
                <a:gd name="connsiteX42" fmla="*/ 1329350 w 11863054"/>
                <a:gd name="connsiteY42" fmla="*/ 2409215 h 6858000"/>
                <a:gd name="connsiteX43" fmla="*/ 1609968 w 11863054"/>
                <a:gd name="connsiteY43" fmla="*/ 2895269 h 6858000"/>
                <a:gd name="connsiteX44" fmla="*/ 1329350 w 11863054"/>
                <a:gd name="connsiteY44" fmla="*/ 3381379 h 6858000"/>
                <a:gd name="connsiteX45" fmla="*/ 768224 w 11863054"/>
                <a:gd name="connsiteY45" fmla="*/ 3381379 h 6858000"/>
                <a:gd name="connsiteX46" fmla="*/ 487716 w 11863054"/>
                <a:gd name="connsiteY46" fmla="*/ 2895546 h 6858000"/>
                <a:gd name="connsiteX47" fmla="*/ 768501 w 11863054"/>
                <a:gd name="connsiteY47" fmla="*/ 2409215 h 6858000"/>
                <a:gd name="connsiteX48" fmla="*/ 3041981 w 11863054"/>
                <a:gd name="connsiteY48" fmla="*/ 2408883 h 6858000"/>
                <a:gd name="connsiteX49" fmla="*/ 3322599 w 11863054"/>
                <a:gd name="connsiteY49" fmla="*/ 2894826 h 6858000"/>
                <a:gd name="connsiteX50" fmla="*/ 3042092 w 11863054"/>
                <a:gd name="connsiteY50" fmla="*/ 3380714 h 6858000"/>
                <a:gd name="connsiteX51" fmla="*/ 2480855 w 11863054"/>
                <a:gd name="connsiteY51" fmla="*/ 3380714 h 6858000"/>
                <a:gd name="connsiteX52" fmla="*/ 2200126 w 11863054"/>
                <a:gd name="connsiteY52" fmla="*/ 2894715 h 6858000"/>
                <a:gd name="connsiteX53" fmla="*/ 2480689 w 11863054"/>
                <a:gd name="connsiteY53" fmla="*/ 2408883 h 6858000"/>
                <a:gd name="connsiteX54" fmla="*/ 4754612 w 11863054"/>
                <a:gd name="connsiteY54" fmla="*/ 2408827 h 6858000"/>
                <a:gd name="connsiteX55" fmla="*/ 5035231 w 11863054"/>
                <a:gd name="connsiteY55" fmla="*/ 2894715 h 6858000"/>
                <a:gd name="connsiteX56" fmla="*/ 4754612 w 11863054"/>
                <a:gd name="connsiteY56" fmla="*/ 3380714 h 6858000"/>
                <a:gd name="connsiteX57" fmla="*/ 4193375 w 11863054"/>
                <a:gd name="connsiteY57" fmla="*/ 3380714 h 6858000"/>
                <a:gd name="connsiteX58" fmla="*/ 3912757 w 11863054"/>
                <a:gd name="connsiteY58" fmla="*/ 2894715 h 6858000"/>
                <a:gd name="connsiteX59" fmla="*/ 4193320 w 11863054"/>
                <a:gd name="connsiteY59" fmla="*/ 2408827 h 6858000"/>
                <a:gd name="connsiteX60" fmla="*/ 6467576 w 11863054"/>
                <a:gd name="connsiteY60" fmla="*/ 2408384 h 6858000"/>
                <a:gd name="connsiteX61" fmla="*/ 6748083 w 11863054"/>
                <a:gd name="connsiteY61" fmla="*/ 2894217 h 6858000"/>
                <a:gd name="connsiteX62" fmla="*/ 6467409 w 11863054"/>
                <a:gd name="connsiteY62" fmla="*/ 3380326 h 6858000"/>
                <a:gd name="connsiteX63" fmla="*/ 5906173 w 11863054"/>
                <a:gd name="connsiteY63" fmla="*/ 3380326 h 6858000"/>
                <a:gd name="connsiteX64" fmla="*/ 5625554 w 11863054"/>
                <a:gd name="connsiteY64" fmla="*/ 2894272 h 6858000"/>
                <a:gd name="connsiteX65" fmla="*/ 5906006 w 11863054"/>
                <a:gd name="connsiteY65" fmla="*/ 2408384 h 6858000"/>
                <a:gd name="connsiteX66" fmla="*/ 2185610 w 11863054"/>
                <a:gd name="connsiteY66" fmla="*/ 1914628 h 6858000"/>
                <a:gd name="connsiteX67" fmla="*/ 2466229 w 11863054"/>
                <a:gd name="connsiteY67" fmla="*/ 2400572 h 6858000"/>
                <a:gd name="connsiteX68" fmla="*/ 2423402 w 11863054"/>
                <a:gd name="connsiteY68" fmla="*/ 2474702 h 6858000"/>
                <a:gd name="connsiteX69" fmla="*/ 2185555 w 11863054"/>
                <a:gd name="connsiteY69" fmla="*/ 2886737 h 6858000"/>
                <a:gd name="connsiteX70" fmla="*/ 1624318 w 11863054"/>
                <a:gd name="connsiteY70" fmla="*/ 2886737 h 6858000"/>
                <a:gd name="connsiteX71" fmla="*/ 1344087 w 11863054"/>
                <a:gd name="connsiteY71" fmla="*/ 2401292 h 6858000"/>
                <a:gd name="connsiteX72" fmla="*/ 1625093 w 11863054"/>
                <a:gd name="connsiteY72" fmla="*/ 1914628 h 6858000"/>
                <a:gd name="connsiteX73" fmla="*/ 3898186 w 11863054"/>
                <a:gd name="connsiteY73" fmla="*/ 1914462 h 6858000"/>
                <a:gd name="connsiteX74" fmla="*/ 4178804 w 11863054"/>
                <a:gd name="connsiteY74" fmla="*/ 2400461 h 6858000"/>
                <a:gd name="connsiteX75" fmla="*/ 3898241 w 11863054"/>
                <a:gd name="connsiteY75" fmla="*/ 2886349 h 6858000"/>
                <a:gd name="connsiteX76" fmla="*/ 3337115 w 11863054"/>
                <a:gd name="connsiteY76" fmla="*/ 2886349 h 6858000"/>
                <a:gd name="connsiteX77" fmla="*/ 3056441 w 11863054"/>
                <a:gd name="connsiteY77" fmla="*/ 2400295 h 6858000"/>
                <a:gd name="connsiteX78" fmla="*/ 3336949 w 11863054"/>
                <a:gd name="connsiteY78" fmla="*/ 1914462 h 6858000"/>
                <a:gd name="connsiteX79" fmla="*/ 5610872 w 11863054"/>
                <a:gd name="connsiteY79" fmla="*/ 1914185 h 6858000"/>
                <a:gd name="connsiteX80" fmla="*/ 5891491 w 11863054"/>
                <a:gd name="connsiteY80" fmla="*/ 2400240 h 6858000"/>
                <a:gd name="connsiteX81" fmla="*/ 5610983 w 11863054"/>
                <a:gd name="connsiteY81" fmla="*/ 2886072 h 6858000"/>
                <a:gd name="connsiteX82" fmla="*/ 5049469 w 11863054"/>
                <a:gd name="connsiteY82" fmla="*/ 2886072 h 6858000"/>
                <a:gd name="connsiteX83" fmla="*/ 4768962 w 11863054"/>
                <a:gd name="connsiteY83" fmla="*/ 2400295 h 6858000"/>
                <a:gd name="connsiteX84" fmla="*/ 5049635 w 11863054"/>
                <a:gd name="connsiteY84" fmla="*/ 1914185 h 6858000"/>
                <a:gd name="connsiteX85" fmla="*/ 7323669 w 11863054"/>
                <a:gd name="connsiteY85" fmla="*/ 1913853 h 6858000"/>
                <a:gd name="connsiteX86" fmla="*/ 7604232 w 11863054"/>
                <a:gd name="connsiteY86" fmla="*/ 2399852 h 6858000"/>
                <a:gd name="connsiteX87" fmla="*/ 7323669 w 11863054"/>
                <a:gd name="connsiteY87" fmla="*/ 2885740 h 6858000"/>
                <a:gd name="connsiteX88" fmla="*/ 6762377 w 11863054"/>
                <a:gd name="connsiteY88" fmla="*/ 2885740 h 6858000"/>
                <a:gd name="connsiteX89" fmla="*/ 6481870 w 11863054"/>
                <a:gd name="connsiteY89" fmla="*/ 2399741 h 6858000"/>
                <a:gd name="connsiteX90" fmla="*/ 6762322 w 11863054"/>
                <a:gd name="connsiteY90" fmla="*/ 1913853 h 6858000"/>
                <a:gd name="connsiteX91" fmla="*/ 1330015 w 11863054"/>
                <a:gd name="connsiteY91" fmla="*/ 1420652 h 6858000"/>
                <a:gd name="connsiteX92" fmla="*/ 1610135 w 11863054"/>
                <a:gd name="connsiteY92" fmla="*/ 1905930 h 6858000"/>
                <a:gd name="connsiteX93" fmla="*/ 1329073 w 11863054"/>
                <a:gd name="connsiteY93" fmla="*/ 2392594 h 6858000"/>
                <a:gd name="connsiteX94" fmla="*/ 768723 w 11863054"/>
                <a:gd name="connsiteY94" fmla="*/ 2392594 h 6858000"/>
                <a:gd name="connsiteX95" fmla="*/ 487993 w 11863054"/>
                <a:gd name="connsiteY95" fmla="*/ 1906429 h 6858000"/>
                <a:gd name="connsiteX96" fmla="*/ 768446 w 11863054"/>
                <a:gd name="connsiteY96" fmla="*/ 1420652 h 6858000"/>
                <a:gd name="connsiteX97" fmla="*/ 4754612 w 11863054"/>
                <a:gd name="connsiteY97" fmla="*/ 1420208 h 6858000"/>
                <a:gd name="connsiteX98" fmla="*/ 5035175 w 11863054"/>
                <a:gd name="connsiteY98" fmla="*/ 1906096 h 6858000"/>
                <a:gd name="connsiteX99" fmla="*/ 4754391 w 11863054"/>
                <a:gd name="connsiteY99" fmla="*/ 2392151 h 6858000"/>
                <a:gd name="connsiteX100" fmla="*/ 4193375 w 11863054"/>
                <a:gd name="connsiteY100" fmla="*/ 2392151 h 6858000"/>
                <a:gd name="connsiteX101" fmla="*/ 3912646 w 11863054"/>
                <a:gd name="connsiteY101" fmla="*/ 1905986 h 6858000"/>
                <a:gd name="connsiteX102" fmla="*/ 4193098 w 11863054"/>
                <a:gd name="connsiteY102" fmla="*/ 1420208 h 6858000"/>
                <a:gd name="connsiteX103" fmla="*/ 3041704 w 11863054"/>
                <a:gd name="connsiteY103" fmla="*/ 1420097 h 6858000"/>
                <a:gd name="connsiteX104" fmla="*/ 3322322 w 11863054"/>
                <a:gd name="connsiteY104" fmla="*/ 1906207 h 6858000"/>
                <a:gd name="connsiteX105" fmla="*/ 3041925 w 11863054"/>
                <a:gd name="connsiteY105" fmla="*/ 2391985 h 6858000"/>
                <a:gd name="connsiteX106" fmla="*/ 2480523 w 11863054"/>
                <a:gd name="connsiteY106" fmla="*/ 2391985 h 6858000"/>
                <a:gd name="connsiteX107" fmla="*/ 2200347 w 11863054"/>
                <a:gd name="connsiteY107" fmla="*/ 1906706 h 6858000"/>
                <a:gd name="connsiteX108" fmla="*/ 2481187 w 11863054"/>
                <a:gd name="connsiteY108" fmla="*/ 1420097 h 6858000"/>
                <a:gd name="connsiteX109" fmla="*/ 6467243 w 11863054"/>
                <a:gd name="connsiteY109" fmla="*/ 1419654 h 6858000"/>
                <a:gd name="connsiteX110" fmla="*/ 6747862 w 11863054"/>
                <a:gd name="connsiteY110" fmla="*/ 1905597 h 6858000"/>
                <a:gd name="connsiteX111" fmla="*/ 6467409 w 11863054"/>
                <a:gd name="connsiteY111" fmla="*/ 2391486 h 6858000"/>
                <a:gd name="connsiteX112" fmla="*/ 5905785 w 11863054"/>
                <a:gd name="connsiteY112" fmla="*/ 2391486 h 6858000"/>
                <a:gd name="connsiteX113" fmla="*/ 5625333 w 11863054"/>
                <a:gd name="connsiteY113" fmla="*/ 1905708 h 6858000"/>
                <a:gd name="connsiteX114" fmla="*/ 5735696 w 11863054"/>
                <a:gd name="connsiteY114" fmla="*/ 1714456 h 6858000"/>
                <a:gd name="connsiteX115" fmla="*/ 5905950 w 11863054"/>
                <a:gd name="connsiteY115" fmla="*/ 1419654 h 6858000"/>
                <a:gd name="connsiteX116" fmla="*/ 8180151 w 11863054"/>
                <a:gd name="connsiteY116" fmla="*/ 1419654 h 6858000"/>
                <a:gd name="connsiteX117" fmla="*/ 8460603 w 11863054"/>
                <a:gd name="connsiteY117" fmla="*/ 1905487 h 6858000"/>
                <a:gd name="connsiteX118" fmla="*/ 8179984 w 11863054"/>
                <a:gd name="connsiteY118" fmla="*/ 2391652 h 6858000"/>
                <a:gd name="connsiteX119" fmla="*/ 7618914 w 11863054"/>
                <a:gd name="connsiteY119" fmla="*/ 2391652 h 6858000"/>
                <a:gd name="connsiteX120" fmla="*/ 7338130 w 11863054"/>
                <a:gd name="connsiteY120" fmla="*/ 1905432 h 6858000"/>
                <a:gd name="connsiteX121" fmla="*/ 7618582 w 11863054"/>
                <a:gd name="connsiteY121" fmla="*/ 1419654 h 6858000"/>
                <a:gd name="connsiteX122" fmla="*/ 2186164 w 11863054"/>
                <a:gd name="connsiteY122" fmla="*/ 926120 h 6858000"/>
                <a:gd name="connsiteX123" fmla="*/ 2466395 w 11863054"/>
                <a:gd name="connsiteY123" fmla="*/ 1411344 h 6858000"/>
                <a:gd name="connsiteX124" fmla="*/ 2185555 w 11863054"/>
                <a:gd name="connsiteY124" fmla="*/ 1897952 h 6858000"/>
                <a:gd name="connsiteX125" fmla="*/ 1624817 w 11863054"/>
                <a:gd name="connsiteY125" fmla="*/ 1897952 h 6858000"/>
                <a:gd name="connsiteX126" fmla="*/ 1344253 w 11863054"/>
                <a:gd name="connsiteY126" fmla="*/ 1412064 h 6858000"/>
                <a:gd name="connsiteX127" fmla="*/ 1624817 w 11863054"/>
                <a:gd name="connsiteY127" fmla="*/ 926120 h 6858000"/>
                <a:gd name="connsiteX128" fmla="*/ 3897853 w 11863054"/>
                <a:gd name="connsiteY128" fmla="*/ 925677 h 6858000"/>
                <a:gd name="connsiteX129" fmla="*/ 4178583 w 11863054"/>
                <a:gd name="connsiteY129" fmla="*/ 1411842 h 6858000"/>
                <a:gd name="connsiteX130" fmla="*/ 3898186 w 11863054"/>
                <a:gd name="connsiteY130" fmla="*/ 1897620 h 6858000"/>
                <a:gd name="connsiteX131" fmla="*/ 3336838 w 11863054"/>
                <a:gd name="connsiteY131" fmla="*/ 1897620 h 6858000"/>
                <a:gd name="connsiteX132" fmla="*/ 3056607 w 11863054"/>
                <a:gd name="connsiteY132" fmla="*/ 1412174 h 6858000"/>
                <a:gd name="connsiteX133" fmla="*/ 3337503 w 11863054"/>
                <a:gd name="connsiteY133" fmla="*/ 925677 h 6858000"/>
                <a:gd name="connsiteX134" fmla="*/ 5610872 w 11863054"/>
                <a:gd name="connsiteY134" fmla="*/ 925622 h 6858000"/>
                <a:gd name="connsiteX135" fmla="*/ 5891380 w 11863054"/>
                <a:gd name="connsiteY135" fmla="*/ 1411455 h 6858000"/>
                <a:gd name="connsiteX136" fmla="*/ 5710376 w 11863054"/>
                <a:gd name="connsiteY136" fmla="*/ 1725093 h 6858000"/>
                <a:gd name="connsiteX137" fmla="*/ 5610761 w 11863054"/>
                <a:gd name="connsiteY137" fmla="*/ 1897453 h 6858000"/>
                <a:gd name="connsiteX138" fmla="*/ 5049414 w 11863054"/>
                <a:gd name="connsiteY138" fmla="*/ 1897453 h 6858000"/>
                <a:gd name="connsiteX139" fmla="*/ 4768851 w 11863054"/>
                <a:gd name="connsiteY139" fmla="*/ 1411565 h 6858000"/>
                <a:gd name="connsiteX140" fmla="*/ 5049469 w 11863054"/>
                <a:gd name="connsiteY140" fmla="*/ 925622 h 6858000"/>
                <a:gd name="connsiteX141" fmla="*/ 7323392 w 11863054"/>
                <a:gd name="connsiteY141" fmla="*/ 925123 h 6858000"/>
                <a:gd name="connsiteX142" fmla="*/ 7604121 w 11863054"/>
                <a:gd name="connsiteY142" fmla="*/ 1411344 h 6858000"/>
                <a:gd name="connsiteX143" fmla="*/ 7323558 w 11863054"/>
                <a:gd name="connsiteY143" fmla="*/ 1896955 h 6858000"/>
                <a:gd name="connsiteX144" fmla="*/ 6762100 w 11863054"/>
                <a:gd name="connsiteY144" fmla="*/ 1896955 h 6858000"/>
                <a:gd name="connsiteX145" fmla="*/ 6481537 w 11863054"/>
                <a:gd name="connsiteY145" fmla="*/ 1411178 h 6858000"/>
                <a:gd name="connsiteX146" fmla="*/ 6591069 w 11863054"/>
                <a:gd name="connsiteY146" fmla="*/ 1221532 h 6858000"/>
                <a:gd name="connsiteX147" fmla="*/ 6762266 w 11863054"/>
                <a:gd name="connsiteY147" fmla="*/ 925123 h 6858000"/>
                <a:gd name="connsiteX148" fmla="*/ 9036411 w 11863054"/>
                <a:gd name="connsiteY148" fmla="*/ 925068 h 6858000"/>
                <a:gd name="connsiteX149" fmla="*/ 9316919 w 11863054"/>
                <a:gd name="connsiteY149" fmla="*/ 1410955 h 6858000"/>
                <a:gd name="connsiteX150" fmla="*/ 9036245 w 11863054"/>
                <a:gd name="connsiteY150" fmla="*/ 1896955 h 6858000"/>
                <a:gd name="connsiteX151" fmla="*/ 8475008 w 11863054"/>
                <a:gd name="connsiteY151" fmla="*/ 1896955 h 6858000"/>
                <a:gd name="connsiteX152" fmla="*/ 8194389 w 11863054"/>
                <a:gd name="connsiteY152" fmla="*/ 1411066 h 6858000"/>
                <a:gd name="connsiteX153" fmla="*/ 8475008 w 11863054"/>
                <a:gd name="connsiteY153" fmla="*/ 925068 h 6858000"/>
                <a:gd name="connsiteX154" fmla="*/ 1329738 w 11863054"/>
                <a:gd name="connsiteY154" fmla="*/ 432032 h 6858000"/>
                <a:gd name="connsiteX155" fmla="*/ 1610245 w 11863054"/>
                <a:gd name="connsiteY155" fmla="*/ 917810 h 6858000"/>
                <a:gd name="connsiteX156" fmla="*/ 1329627 w 11863054"/>
                <a:gd name="connsiteY156" fmla="*/ 1403864 h 6858000"/>
                <a:gd name="connsiteX157" fmla="*/ 768446 w 11863054"/>
                <a:gd name="connsiteY157" fmla="*/ 1403864 h 6858000"/>
                <a:gd name="connsiteX158" fmla="*/ 487827 w 11863054"/>
                <a:gd name="connsiteY158" fmla="*/ 917810 h 6858000"/>
                <a:gd name="connsiteX159" fmla="*/ 768335 w 11863054"/>
                <a:gd name="connsiteY159" fmla="*/ 432032 h 6858000"/>
                <a:gd name="connsiteX160" fmla="*/ 3042369 w 11863054"/>
                <a:gd name="connsiteY160" fmla="*/ 431534 h 6858000"/>
                <a:gd name="connsiteX161" fmla="*/ 3322599 w 11863054"/>
                <a:gd name="connsiteY161" fmla="*/ 916979 h 6858000"/>
                <a:gd name="connsiteX162" fmla="*/ 3041704 w 11863054"/>
                <a:gd name="connsiteY162" fmla="*/ 1403366 h 6858000"/>
                <a:gd name="connsiteX163" fmla="*/ 2481187 w 11863054"/>
                <a:gd name="connsiteY163" fmla="*/ 1403366 h 6858000"/>
                <a:gd name="connsiteX164" fmla="*/ 2200569 w 11863054"/>
                <a:gd name="connsiteY164" fmla="*/ 917422 h 6858000"/>
                <a:gd name="connsiteX165" fmla="*/ 2481021 w 11863054"/>
                <a:gd name="connsiteY165" fmla="*/ 431534 h 6858000"/>
                <a:gd name="connsiteX166" fmla="*/ 4754335 w 11863054"/>
                <a:gd name="connsiteY166" fmla="*/ 431534 h 6858000"/>
                <a:gd name="connsiteX167" fmla="*/ 5034898 w 11863054"/>
                <a:gd name="connsiteY167" fmla="*/ 917477 h 6858000"/>
                <a:gd name="connsiteX168" fmla="*/ 4754169 w 11863054"/>
                <a:gd name="connsiteY168" fmla="*/ 1403366 h 6858000"/>
                <a:gd name="connsiteX169" fmla="*/ 4193043 w 11863054"/>
                <a:gd name="connsiteY169" fmla="*/ 1403366 h 6858000"/>
                <a:gd name="connsiteX170" fmla="*/ 3912701 w 11863054"/>
                <a:gd name="connsiteY170" fmla="*/ 917810 h 6858000"/>
                <a:gd name="connsiteX171" fmla="*/ 4193541 w 11863054"/>
                <a:gd name="connsiteY171" fmla="*/ 431534 h 6858000"/>
                <a:gd name="connsiteX172" fmla="*/ 6467243 w 11863054"/>
                <a:gd name="connsiteY172" fmla="*/ 431090 h 6858000"/>
                <a:gd name="connsiteX173" fmla="*/ 6747695 w 11863054"/>
                <a:gd name="connsiteY173" fmla="*/ 916979 h 6858000"/>
                <a:gd name="connsiteX174" fmla="*/ 6693400 w 11863054"/>
                <a:gd name="connsiteY174" fmla="*/ 1011054 h 6858000"/>
                <a:gd name="connsiteX175" fmla="*/ 6467077 w 11863054"/>
                <a:gd name="connsiteY175" fmla="*/ 1403033 h 6858000"/>
                <a:gd name="connsiteX176" fmla="*/ 5905729 w 11863054"/>
                <a:gd name="connsiteY176" fmla="*/ 1403033 h 6858000"/>
                <a:gd name="connsiteX177" fmla="*/ 5625166 w 11863054"/>
                <a:gd name="connsiteY177" fmla="*/ 916979 h 6858000"/>
                <a:gd name="connsiteX178" fmla="*/ 5905674 w 11863054"/>
                <a:gd name="connsiteY178" fmla="*/ 431090 h 6858000"/>
                <a:gd name="connsiteX179" fmla="*/ 8179874 w 11863054"/>
                <a:gd name="connsiteY179" fmla="*/ 431035 h 6858000"/>
                <a:gd name="connsiteX180" fmla="*/ 8460326 w 11863054"/>
                <a:gd name="connsiteY180" fmla="*/ 916812 h 6858000"/>
                <a:gd name="connsiteX181" fmla="*/ 8179818 w 11863054"/>
                <a:gd name="connsiteY181" fmla="*/ 1402867 h 6858000"/>
                <a:gd name="connsiteX182" fmla="*/ 7618582 w 11863054"/>
                <a:gd name="connsiteY182" fmla="*/ 1402867 h 6858000"/>
                <a:gd name="connsiteX183" fmla="*/ 7337963 w 11863054"/>
                <a:gd name="connsiteY183" fmla="*/ 916812 h 6858000"/>
                <a:gd name="connsiteX184" fmla="*/ 7618471 w 11863054"/>
                <a:gd name="connsiteY184" fmla="*/ 431035 h 6858000"/>
                <a:gd name="connsiteX185" fmla="*/ 9892505 w 11863054"/>
                <a:gd name="connsiteY185" fmla="*/ 430592 h 6858000"/>
                <a:gd name="connsiteX186" fmla="*/ 10173123 w 11863054"/>
                <a:gd name="connsiteY186" fmla="*/ 916536 h 6858000"/>
                <a:gd name="connsiteX187" fmla="*/ 9892560 w 11863054"/>
                <a:gd name="connsiteY187" fmla="*/ 1402534 h 6858000"/>
                <a:gd name="connsiteX188" fmla="*/ 9331323 w 11863054"/>
                <a:gd name="connsiteY188" fmla="*/ 1402534 h 6858000"/>
                <a:gd name="connsiteX189" fmla="*/ 9050650 w 11863054"/>
                <a:gd name="connsiteY189" fmla="*/ 916424 h 6858000"/>
                <a:gd name="connsiteX190" fmla="*/ 9331157 w 11863054"/>
                <a:gd name="connsiteY190" fmla="*/ 430592 h 6858000"/>
                <a:gd name="connsiteX191" fmla="*/ 11863054 w 11863054"/>
                <a:gd name="connsiteY191" fmla="*/ 0 h 6858000"/>
                <a:gd name="connsiteX192" fmla="*/ 11843939 w 11863054"/>
                <a:gd name="connsiteY192" fmla="*/ 0 h 6858000"/>
                <a:gd name="connsiteX193" fmla="*/ 11604970 w 11863054"/>
                <a:gd name="connsiteY193" fmla="*/ 413916 h 6858000"/>
                <a:gd name="connsiteX194" fmla="*/ 11043788 w 11863054"/>
                <a:gd name="connsiteY194" fmla="*/ 413916 h 6858000"/>
                <a:gd name="connsiteX195" fmla="*/ 10804853 w 11863054"/>
                <a:gd name="connsiteY195" fmla="*/ 0 h 6858000"/>
                <a:gd name="connsiteX196" fmla="*/ 10785529 w 11863054"/>
                <a:gd name="connsiteY196" fmla="*/ 0 h 6858000"/>
                <a:gd name="connsiteX197" fmla="*/ 11029217 w 11863054"/>
                <a:gd name="connsiteY197" fmla="*/ 422170 h 6858000"/>
                <a:gd name="connsiteX198" fmla="*/ 10748654 w 11863054"/>
                <a:gd name="connsiteY198" fmla="*/ 908114 h 6858000"/>
                <a:gd name="connsiteX199" fmla="*/ 10187639 w 11863054"/>
                <a:gd name="connsiteY199" fmla="*/ 908114 h 6858000"/>
                <a:gd name="connsiteX200" fmla="*/ 9906965 w 11863054"/>
                <a:gd name="connsiteY200" fmla="*/ 421949 h 6858000"/>
                <a:gd name="connsiteX201" fmla="*/ 10150539 w 11863054"/>
                <a:gd name="connsiteY201" fmla="*/ 0 h 6858000"/>
                <a:gd name="connsiteX202" fmla="*/ 10131190 w 11863054"/>
                <a:gd name="connsiteY202" fmla="*/ 0 h 6858000"/>
                <a:gd name="connsiteX203" fmla="*/ 9892339 w 11863054"/>
                <a:gd name="connsiteY203" fmla="*/ 413638 h 6858000"/>
                <a:gd name="connsiteX204" fmla="*/ 9330991 w 11863054"/>
                <a:gd name="connsiteY204" fmla="*/ 413638 h 6858000"/>
                <a:gd name="connsiteX205" fmla="*/ 9092139 w 11863054"/>
                <a:gd name="connsiteY205" fmla="*/ 0 h 6858000"/>
                <a:gd name="connsiteX206" fmla="*/ 9072826 w 11863054"/>
                <a:gd name="connsiteY206" fmla="*/ 0 h 6858000"/>
                <a:gd name="connsiteX207" fmla="*/ 9316642 w 11863054"/>
                <a:gd name="connsiteY207" fmla="*/ 422392 h 6858000"/>
                <a:gd name="connsiteX208" fmla="*/ 9036189 w 11863054"/>
                <a:gd name="connsiteY208" fmla="*/ 908170 h 6858000"/>
                <a:gd name="connsiteX209" fmla="*/ 8474731 w 11863054"/>
                <a:gd name="connsiteY209" fmla="*/ 908170 h 6858000"/>
                <a:gd name="connsiteX210" fmla="*/ 8194168 w 11863054"/>
                <a:gd name="connsiteY210" fmla="*/ 422503 h 6858000"/>
                <a:gd name="connsiteX211" fmla="*/ 8438136 w 11863054"/>
                <a:gd name="connsiteY211" fmla="*/ 0 h 6858000"/>
                <a:gd name="connsiteX212" fmla="*/ 8418811 w 11863054"/>
                <a:gd name="connsiteY212" fmla="*/ 0 h 6858000"/>
                <a:gd name="connsiteX213" fmla="*/ 8179597 w 11863054"/>
                <a:gd name="connsiteY213" fmla="*/ 414303 h 6858000"/>
                <a:gd name="connsiteX214" fmla="*/ 7618582 w 11863054"/>
                <a:gd name="connsiteY214" fmla="*/ 414303 h 6858000"/>
                <a:gd name="connsiteX215" fmla="*/ 7379274 w 11863054"/>
                <a:gd name="connsiteY215" fmla="*/ 0 h 6858000"/>
                <a:gd name="connsiteX216" fmla="*/ 7359940 w 11863054"/>
                <a:gd name="connsiteY216" fmla="*/ 0 h 6858000"/>
                <a:gd name="connsiteX217" fmla="*/ 7603955 w 11863054"/>
                <a:gd name="connsiteY217" fmla="*/ 422558 h 6858000"/>
                <a:gd name="connsiteX218" fmla="*/ 7323337 w 11863054"/>
                <a:gd name="connsiteY218" fmla="*/ 908447 h 6858000"/>
                <a:gd name="connsiteX219" fmla="*/ 6762100 w 11863054"/>
                <a:gd name="connsiteY219" fmla="*/ 908447 h 6858000"/>
                <a:gd name="connsiteX220" fmla="*/ 6481482 w 11863054"/>
                <a:gd name="connsiteY220" fmla="*/ 422503 h 6858000"/>
                <a:gd name="connsiteX221" fmla="*/ 6725445 w 11863054"/>
                <a:gd name="connsiteY221" fmla="*/ 0 h 6858000"/>
                <a:gd name="connsiteX222" fmla="*/ 6706132 w 11863054"/>
                <a:gd name="connsiteY222" fmla="*/ 0 h 6858000"/>
                <a:gd name="connsiteX223" fmla="*/ 6466910 w 11863054"/>
                <a:gd name="connsiteY223" fmla="*/ 414303 h 6858000"/>
                <a:gd name="connsiteX224" fmla="*/ 5905508 w 11863054"/>
                <a:gd name="connsiteY224" fmla="*/ 414303 h 6858000"/>
                <a:gd name="connsiteX225" fmla="*/ 5666338 w 11863054"/>
                <a:gd name="connsiteY225" fmla="*/ 0 h 6858000"/>
                <a:gd name="connsiteX226" fmla="*/ 5646974 w 11863054"/>
                <a:gd name="connsiteY226" fmla="*/ 0 h 6858000"/>
                <a:gd name="connsiteX227" fmla="*/ 5891214 w 11863054"/>
                <a:gd name="connsiteY227" fmla="*/ 422946 h 6858000"/>
                <a:gd name="connsiteX228" fmla="*/ 5618463 w 11863054"/>
                <a:gd name="connsiteY228" fmla="*/ 895261 h 6858000"/>
                <a:gd name="connsiteX229" fmla="*/ 5610706 w 11863054"/>
                <a:gd name="connsiteY229" fmla="*/ 908835 h 6858000"/>
                <a:gd name="connsiteX230" fmla="*/ 5049192 w 11863054"/>
                <a:gd name="connsiteY230" fmla="*/ 908835 h 6858000"/>
                <a:gd name="connsiteX231" fmla="*/ 4769017 w 11863054"/>
                <a:gd name="connsiteY231" fmla="*/ 423556 h 6858000"/>
                <a:gd name="connsiteX232" fmla="*/ 5013591 w 11863054"/>
                <a:gd name="connsiteY232" fmla="*/ 0 h 6858000"/>
                <a:gd name="connsiteX233" fmla="*/ 4993649 w 11863054"/>
                <a:gd name="connsiteY233" fmla="*/ 0 h 6858000"/>
                <a:gd name="connsiteX234" fmla="*/ 4754058 w 11863054"/>
                <a:gd name="connsiteY234" fmla="*/ 414857 h 6858000"/>
                <a:gd name="connsiteX235" fmla="*/ 4193652 w 11863054"/>
                <a:gd name="connsiteY235" fmla="*/ 414857 h 6858000"/>
                <a:gd name="connsiteX236" fmla="*/ 3954146 w 11863054"/>
                <a:gd name="connsiteY236" fmla="*/ 0 h 6858000"/>
                <a:gd name="connsiteX237" fmla="*/ 3934827 w 11863054"/>
                <a:gd name="connsiteY237" fmla="*/ 0 h 6858000"/>
                <a:gd name="connsiteX238" fmla="*/ 4178860 w 11863054"/>
                <a:gd name="connsiteY238" fmla="*/ 422669 h 6858000"/>
                <a:gd name="connsiteX239" fmla="*/ 3898186 w 11863054"/>
                <a:gd name="connsiteY239" fmla="*/ 909056 h 6858000"/>
                <a:gd name="connsiteX240" fmla="*/ 3337503 w 11863054"/>
                <a:gd name="connsiteY240" fmla="*/ 909056 h 6858000"/>
                <a:gd name="connsiteX241" fmla="*/ 3056829 w 11863054"/>
                <a:gd name="connsiteY241" fmla="*/ 422946 h 6858000"/>
                <a:gd name="connsiteX242" fmla="*/ 3300979 w 11863054"/>
                <a:gd name="connsiteY242" fmla="*/ 0 h 6858000"/>
                <a:gd name="connsiteX243" fmla="*/ 3281513 w 11863054"/>
                <a:gd name="connsiteY243" fmla="*/ 0 h 6858000"/>
                <a:gd name="connsiteX244" fmla="*/ 3042203 w 11863054"/>
                <a:gd name="connsiteY244" fmla="*/ 414691 h 6858000"/>
                <a:gd name="connsiteX245" fmla="*/ 2480855 w 11863054"/>
                <a:gd name="connsiteY245" fmla="*/ 414691 h 6858000"/>
                <a:gd name="connsiteX246" fmla="*/ 2241403 w 11863054"/>
                <a:gd name="connsiteY246" fmla="*/ 0 h 6858000"/>
                <a:gd name="connsiteX247" fmla="*/ 2222087 w 11863054"/>
                <a:gd name="connsiteY247" fmla="*/ 0 h 6858000"/>
                <a:gd name="connsiteX248" fmla="*/ 2466505 w 11863054"/>
                <a:gd name="connsiteY248" fmla="*/ 423389 h 6858000"/>
                <a:gd name="connsiteX249" fmla="*/ 2214697 w 11863054"/>
                <a:gd name="connsiteY249" fmla="*/ 859580 h 6858000"/>
                <a:gd name="connsiteX250" fmla="*/ 2186053 w 11863054"/>
                <a:gd name="connsiteY250" fmla="*/ 909278 h 6858000"/>
                <a:gd name="connsiteX251" fmla="*/ 1624539 w 11863054"/>
                <a:gd name="connsiteY251" fmla="*/ 909278 h 6858000"/>
                <a:gd name="connsiteX252" fmla="*/ 1344087 w 11863054"/>
                <a:gd name="connsiteY252" fmla="*/ 423445 h 6858000"/>
                <a:gd name="connsiteX253" fmla="*/ 1588559 w 11863054"/>
                <a:gd name="connsiteY253" fmla="*/ 0 h 6858000"/>
                <a:gd name="connsiteX254" fmla="*/ 1569223 w 11863054"/>
                <a:gd name="connsiteY254" fmla="*/ 0 h 6858000"/>
                <a:gd name="connsiteX255" fmla="*/ 1329461 w 11863054"/>
                <a:gd name="connsiteY255" fmla="*/ 415301 h 6858000"/>
                <a:gd name="connsiteX256" fmla="*/ 768446 w 11863054"/>
                <a:gd name="connsiteY256" fmla="*/ 415301 h 6858000"/>
                <a:gd name="connsiteX257" fmla="*/ 528589 w 11863054"/>
                <a:gd name="connsiteY257" fmla="*/ 0 h 6858000"/>
                <a:gd name="connsiteX258" fmla="*/ 509180 w 11863054"/>
                <a:gd name="connsiteY258" fmla="*/ 0 h 6858000"/>
                <a:gd name="connsiteX259" fmla="*/ 753764 w 11863054"/>
                <a:gd name="connsiteY259" fmla="*/ 423667 h 6858000"/>
                <a:gd name="connsiteX260" fmla="*/ 473201 w 11863054"/>
                <a:gd name="connsiteY260" fmla="*/ 909444 h 6858000"/>
                <a:gd name="connsiteX261" fmla="*/ 0 w 11863054"/>
                <a:gd name="connsiteY261" fmla="*/ 909444 h 6858000"/>
                <a:gd name="connsiteX262" fmla="*/ 0 w 11863054"/>
                <a:gd name="connsiteY262" fmla="*/ 926120 h 6858000"/>
                <a:gd name="connsiteX263" fmla="*/ 473201 w 11863054"/>
                <a:gd name="connsiteY263" fmla="*/ 926120 h 6858000"/>
                <a:gd name="connsiteX264" fmla="*/ 754041 w 11863054"/>
                <a:gd name="connsiteY264" fmla="*/ 1412285 h 6858000"/>
                <a:gd name="connsiteX265" fmla="*/ 473533 w 11863054"/>
                <a:gd name="connsiteY265" fmla="*/ 1898063 h 6858000"/>
                <a:gd name="connsiteX266" fmla="*/ 0 w 11863054"/>
                <a:gd name="connsiteY266" fmla="*/ 1898063 h 6858000"/>
                <a:gd name="connsiteX267" fmla="*/ 0 w 11863054"/>
                <a:gd name="connsiteY267" fmla="*/ 1914850 h 6858000"/>
                <a:gd name="connsiteX268" fmla="*/ 473533 w 11863054"/>
                <a:gd name="connsiteY268" fmla="*/ 1914850 h 6858000"/>
                <a:gd name="connsiteX269" fmla="*/ 753875 w 11863054"/>
                <a:gd name="connsiteY269" fmla="*/ 2400517 h 6858000"/>
                <a:gd name="connsiteX270" fmla="*/ 473201 w 11863054"/>
                <a:gd name="connsiteY270" fmla="*/ 2886737 h 6858000"/>
                <a:gd name="connsiteX271" fmla="*/ 0 w 11863054"/>
                <a:gd name="connsiteY271" fmla="*/ 2886737 h 6858000"/>
                <a:gd name="connsiteX272" fmla="*/ 0 w 11863054"/>
                <a:gd name="connsiteY272" fmla="*/ 2903414 h 6858000"/>
                <a:gd name="connsiteX273" fmla="*/ 472924 w 11863054"/>
                <a:gd name="connsiteY273" fmla="*/ 2903414 h 6858000"/>
                <a:gd name="connsiteX274" fmla="*/ 753597 w 11863054"/>
                <a:gd name="connsiteY274" fmla="*/ 3389579 h 6858000"/>
                <a:gd name="connsiteX275" fmla="*/ 473201 w 11863054"/>
                <a:gd name="connsiteY275" fmla="*/ 3875245 h 6858000"/>
                <a:gd name="connsiteX276" fmla="*/ 0 w 11863054"/>
                <a:gd name="connsiteY276" fmla="*/ 3875245 h 6858000"/>
                <a:gd name="connsiteX277" fmla="*/ 0 w 11863054"/>
                <a:gd name="connsiteY277" fmla="*/ 3892032 h 6858000"/>
                <a:gd name="connsiteX278" fmla="*/ 473367 w 11863054"/>
                <a:gd name="connsiteY278" fmla="*/ 3892032 h 6858000"/>
                <a:gd name="connsiteX279" fmla="*/ 753875 w 11863054"/>
                <a:gd name="connsiteY279" fmla="*/ 4377921 h 6858000"/>
                <a:gd name="connsiteX280" fmla="*/ 473201 w 11863054"/>
                <a:gd name="connsiteY280" fmla="*/ 4863975 h 6858000"/>
                <a:gd name="connsiteX281" fmla="*/ 0 w 11863054"/>
                <a:gd name="connsiteY281" fmla="*/ 4863975 h 6858000"/>
                <a:gd name="connsiteX282" fmla="*/ 0 w 11863054"/>
                <a:gd name="connsiteY282" fmla="*/ 4880651 h 6858000"/>
                <a:gd name="connsiteX283" fmla="*/ 473422 w 11863054"/>
                <a:gd name="connsiteY283" fmla="*/ 4880651 h 6858000"/>
                <a:gd name="connsiteX284" fmla="*/ 754041 w 11863054"/>
                <a:gd name="connsiteY284" fmla="*/ 5366650 h 6858000"/>
                <a:gd name="connsiteX285" fmla="*/ 473478 w 11863054"/>
                <a:gd name="connsiteY285" fmla="*/ 5852538 h 6858000"/>
                <a:gd name="connsiteX286" fmla="*/ 0 w 11863054"/>
                <a:gd name="connsiteY286" fmla="*/ 5852538 h 6858000"/>
                <a:gd name="connsiteX287" fmla="*/ 0 w 11863054"/>
                <a:gd name="connsiteY287" fmla="*/ 5869436 h 6858000"/>
                <a:gd name="connsiteX288" fmla="*/ 473699 w 11863054"/>
                <a:gd name="connsiteY288" fmla="*/ 5869436 h 6858000"/>
                <a:gd name="connsiteX289" fmla="*/ 754262 w 11863054"/>
                <a:gd name="connsiteY289" fmla="*/ 6355158 h 6858000"/>
                <a:gd name="connsiteX290" fmla="*/ 473644 w 11863054"/>
                <a:gd name="connsiteY290" fmla="*/ 6841324 h 6858000"/>
                <a:gd name="connsiteX291" fmla="*/ 0 w 11863054"/>
                <a:gd name="connsiteY291" fmla="*/ 6841324 h 6858000"/>
                <a:gd name="connsiteX292" fmla="*/ 0 w 11863054"/>
                <a:gd name="connsiteY292" fmla="*/ 6858000 h 6858000"/>
                <a:gd name="connsiteX293" fmla="*/ 483173 w 11863054"/>
                <a:gd name="connsiteY293" fmla="*/ 6858000 h 6858000"/>
                <a:gd name="connsiteX294" fmla="*/ 773377 w 11863054"/>
                <a:gd name="connsiteY294" fmla="*/ 6355214 h 6858000"/>
                <a:gd name="connsiteX295" fmla="*/ 487938 w 11863054"/>
                <a:gd name="connsiteY295" fmla="*/ 5860849 h 6858000"/>
                <a:gd name="connsiteX296" fmla="*/ 773266 w 11863054"/>
                <a:gd name="connsiteY296" fmla="*/ 5366761 h 6858000"/>
                <a:gd name="connsiteX297" fmla="*/ 487716 w 11863054"/>
                <a:gd name="connsiteY297" fmla="*/ 4872175 h 6858000"/>
                <a:gd name="connsiteX298" fmla="*/ 773099 w 11863054"/>
                <a:gd name="connsiteY298" fmla="*/ 4378031 h 6858000"/>
                <a:gd name="connsiteX299" fmla="*/ 487606 w 11863054"/>
                <a:gd name="connsiteY299" fmla="*/ 3883611 h 6858000"/>
                <a:gd name="connsiteX300" fmla="*/ 768002 w 11863054"/>
                <a:gd name="connsiteY300" fmla="*/ 3398111 h 6858000"/>
                <a:gd name="connsiteX301" fmla="*/ 1338990 w 11863054"/>
                <a:gd name="connsiteY301" fmla="*/ 3398111 h 6858000"/>
                <a:gd name="connsiteX302" fmla="*/ 1624539 w 11863054"/>
                <a:gd name="connsiteY302" fmla="*/ 2903469 h 6858000"/>
                <a:gd name="connsiteX303" fmla="*/ 2185943 w 11863054"/>
                <a:gd name="connsiteY303" fmla="*/ 2903469 h 6858000"/>
                <a:gd name="connsiteX304" fmla="*/ 2466505 w 11863054"/>
                <a:gd name="connsiteY304" fmla="*/ 3389246 h 6858000"/>
                <a:gd name="connsiteX305" fmla="*/ 2185887 w 11863054"/>
                <a:gd name="connsiteY305" fmla="*/ 3875245 h 6858000"/>
                <a:gd name="connsiteX306" fmla="*/ 1615010 w 11863054"/>
                <a:gd name="connsiteY306" fmla="*/ 3875245 h 6858000"/>
                <a:gd name="connsiteX307" fmla="*/ 1324807 w 11863054"/>
                <a:gd name="connsiteY307" fmla="*/ 4378031 h 6858000"/>
                <a:gd name="connsiteX308" fmla="*/ 1610245 w 11863054"/>
                <a:gd name="connsiteY308" fmla="*/ 4872396 h 6858000"/>
                <a:gd name="connsiteX309" fmla="*/ 1324973 w 11863054"/>
                <a:gd name="connsiteY309" fmla="*/ 5366595 h 6858000"/>
                <a:gd name="connsiteX310" fmla="*/ 1615232 w 11863054"/>
                <a:gd name="connsiteY310" fmla="*/ 5869215 h 6858000"/>
                <a:gd name="connsiteX311" fmla="*/ 2195693 w 11863054"/>
                <a:gd name="connsiteY311" fmla="*/ 5869215 h 6858000"/>
                <a:gd name="connsiteX312" fmla="*/ 2485952 w 11863054"/>
                <a:gd name="connsiteY312" fmla="*/ 5366539 h 6858000"/>
                <a:gd name="connsiteX313" fmla="*/ 2200403 w 11863054"/>
                <a:gd name="connsiteY313" fmla="*/ 4872064 h 6858000"/>
                <a:gd name="connsiteX314" fmla="*/ 2481021 w 11863054"/>
                <a:gd name="connsiteY314" fmla="*/ 4386120 h 6858000"/>
                <a:gd name="connsiteX315" fmla="*/ 3042369 w 11863054"/>
                <a:gd name="connsiteY315" fmla="*/ 4386120 h 6858000"/>
                <a:gd name="connsiteX316" fmla="*/ 3327641 w 11863054"/>
                <a:gd name="connsiteY316" fmla="*/ 4880263 h 6858000"/>
                <a:gd name="connsiteX317" fmla="*/ 3908214 w 11863054"/>
                <a:gd name="connsiteY317" fmla="*/ 4880263 h 6858000"/>
                <a:gd name="connsiteX318" fmla="*/ 4193541 w 11863054"/>
                <a:gd name="connsiteY318" fmla="*/ 4386120 h 6858000"/>
                <a:gd name="connsiteX319" fmla="*/ 4764474 w 11863054"/>
                <a:gd name="connsiteY319" fmla="*/ 4386120 h 6858000"/>
                <a:gd name="connsiteX320" fmla="*/ 5050023 w 11863054"/>
                <a:gd name="connsiteY320" fmla="*/ 3891478 h 6858000"/>
                <a:gd name="connsiteX321" fmla="*/ 5620734 w 11863054"/>
                <a:gd name="connsiteY321" fmla="*/ 3891478 h 6858000"/>
                <a:gd name="connsiteX322" fmla="*/ 5906173 w 11863054"/>
                <a:gd name="connsiteY322" fmla="*/ 3396948 h 6858000"/>
                <a:gd name="connsiteX323" fmla="*/ 6476938 w 11863054"/>
                <a:gd name="connsiteY323" fmla="*/ 3396948 h 6858000"/>
                <a:gd name="connsiteX324" fmla="*/ 6762488 w 11863054"/>
                <a:gd name="connsiteY324" fmla="*/ 2902416 h 6858000"/>
                <a:gd name="connsiteX325" fmla="*/ 7333199 w 11863054"/>
                <a:gd name="connsiteY325" fmla="*/ 2902416 h 6858000"/>
                <a:gd name="connsiteX326" fmla="*/ 7618637 w 11863054"/>
                <a:gd name="connsiteY326" fmla="*/ 2408218 h 6858000"/>
                <a:gd name="connsiteX327" fmla="*/ 8189569 w 11863054"/>
                <a:gd name="connsiteY327" fmla="*/ 2408218 h 6858000"/>
                <a:gd name="connsiteX328" fmla="*/ 8475063 w 11863054"/>
                <a:gd name="connsiteY328" fmla="*/ 1913631 h 6858000"/>
                <a:gd name="connsiteX329" fmla="*/ 9045830 w 11863054"/>
                <a:gd name="connsiteY329" fmla="*/ 1913631 h 6858000"/>
                <a:gd name="connsiteX330" fmla="*/ 9331379 w 11863054"/>
                <a:gd name="connsiteY330" fmla="*/ 1419100 h 6858000"/>
                <a:gd name="connsiteX331" fmla="*/ 9902145 w 11863054"/>
                <a:gd name="connsiteY331" fmla="*/ 1419100 h 6858000"/>
                <a:gd name="connsiteX332" fmla="*/ 10187584 w 11863054"/>
                <a:gd name="connsiteY332" fmla="*/ 924680 h 6858000"/>
                <a:gd name="connsiteX333" fmla="*/ 10758184 w 11863054"/>
                <a:gd name="connsiteY333" fmla="*/ 924680 h 6858000"/>
                <a:gd name="connsiteX334" fmla="*/ 11043511 w 11863054"/>
                <a:gd name="connsiteY334" fmla="*/ 430537 h 6858000"/>
                <a:gd name="connsiteX335" fmla="*/ 11614444 w 11863054"/>
                <a:gd name="connsiteY335" fmla="*/ 43053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11863054" h="6858000">
                  <a:moveTo>
                    <a:pt x="2186275" y="4880651"/>
                  </a:moveTo>
                  <a:lnTo>
                    <a:pt x="2466727" y="5366539"/>
                  </a:lnTo>
                  <a:lnTo>
                    <a:pt x="2186109" y="5852538"/>
                  </a:lnTo>
                  <a:lnTo>
                    <a:pt x="1624817" y="5852538"/>
                  </a:lnTo>
                  <a:lnTo>
                    <a:pt x="1344198" y="5366539"/>
                  </a:lnTo>
                  <a:lnTo>
                    <a:pt x="1624650" y="4880651"/>
                  </a:lnTo>
                  <a:close/>
                  <a:moveTo>
                    <a:pt x="2185887" y="3891755"/>
                  </a:moveTo>
                  <a:lnTo>
                    <a:pt x="2466505" y="4377921"/>
                  </a:lnTo>
                  <a:lnTo>
                    <a:pt x="2186053" y="4863753"/>
                  </a:lnTo>
                  <a:lnTo>
                    <a:pt x="1624539" y="4863753"/>
                  </a:lnTo>
                  <a:lnTo>
                    <a:pt x="1343977" y="4377921"/>
                  </a:lnTo>
                  <a:lnTo>
                    <a:pt x="1624650" y="3891755"/>
                  </a:lnTo>
                  <a:close/>
                  <a:moveTo>
                    <a:pt x="3898518" y="3891700"/>
                  </a:moveTo>
                  <a:lnTo>
                    <a:pt x="4179137" y="4377644"/>
                  </a:lnTo>
                  <a:lnTo>
                    <a:pt x="3898518" y="4863642"/>
                  </a:lnTo>
                  <a:lnTo>
                    <a:pt x="3337226" y="4863642"/>
                  </a:lnTo>
                  <a:lnTo>
                    <a:pt x="3056718" y="4377644"/>
                  </a:lnTo>
                  <a:lnTo>
                    <a:pt x="3337337" y="3891700"/>
                  </a:lnTo>
                  <a:close/>
                  <a:moveTo>
                    <a:pt x="4755000" y="3397502"/>
                  </a:moveTo>
                  <a:lnTo>
                    <a:pt x="5035508" y="3883389"/>
                  </a:lnTo>
                  <a:lnTo>
                    <a:pt x="4754778" y="4369444"/>
                  </a:lnTo>
                  <a:lnTo>
                    <a:pt x="4193652" y="4369444"/>
                  </a:lnTo>
                  <a:lnTo>
                    <a:pt x="3912978" y="3883223"/>
                  </a:lnTo>
                  <a:lnTo>
                    <a:pt x="4193541" y="3397502"/>
                  </a:lnTo>
                  <a:close/>
                  <a:moveTo>
                    <a:pt x="3042147" y="3397391"/>
                  </a:moveTo>
                  <a:lnTo>
                    <a:pt x="3322710" y="3883389"/>
                  </a:lnTo>
                  <a:lnTo>
                    <a:pt x="3042147" y="4369444"/>
                  </a:lnTo>
                  <a:lnTo>
                    <a:pt x="2480966" y="4369444"/>
                  </a:lnTo>
                  <a:lnTo>
                    <a:pt x="2200292" y="3883389"/>
                  </a:lnTo>
                  <a:lnTo>
                    <a:pt x="2480911" y="3397391"/>
                  </a:lnTo>
                  <a:close/>
                  <a:moveTo>
                    <a:pt x="3898186" y="2902970"/>
                  </a:moveTo>
                  <a:lnTo>
                    <a:pt x="4178860" y="3389136"/>
                  </a:lnTo>
                  <a:lnTo>
                    <a:pt x="3898463" y="3874857"/>
                  </a:lnTo>
                  <a:lnTo>
                    <a:pt x="3337115" y="3874857"/>
                  </a:lnTo>
                  <a:lnTo>
                    <a:pt x="3056607" y="3388969"/>
                  </a:lnTo>
                  <a:lnTo>
                    <a:pt x="3337115" y="2902970"/>
                  </a:lnTo>
                  <a:close/>
                  <a:moveTo>
                    <a:pt x="5611205" y="2902915"/>
                  </a:moveTo>
                  <a:lnTo>
                    <a:pt x="5891712" y="3388748"/>
                  </a:lnTo>
                  <a:lnTo>
                    <a:pt x="5611149" y="3874857"/>
                  </a:lnTo>
                  <a:lnTo>
                    <a:pt x="5049857" y="3874857"/>
                  </a:lnTo>
                  <a:lnTo>
                    <a:pt x="4769239" y="3388969"/>
                  </a:lnTo>
                  <a:lnTo>
                    <a:pt x="5049857" y="2902915"/>
                  </a:lnTo>
                  <a:close/>
                  <a:moveTo>
                    <a:pt x="1329350" y="2409215"/>
                  </a:moveTo>
                  <a:lnTo>
                    <a:pt x="1609968" y="2895269"/>
                  </a:lnTo>
                  <a:lnTo>
                    <a:pt x="1329350" y="3381379"/>
                  </a:lnTo>
                  <a:lnTo>
                    <a:pt x="768224" y="3381379"/>
                  </a:lnTo>
                  <a:lnTo>
                    <a:pt x="487716" y="2895546"/>
                  </a:lnTo>
                  <a:lnTo>
                    <a:pt x="768501" y="2409215"/>
                  </a:lnTo>
                  <a:close/>
                  <a:moveTo>
                    <a:pt x="3041981" y="2408883"/>
                  </a:moveTo>
                  <a:lnTo>
                    <a:pt x="3322599" y="2894826"/>
                  </a:lnTo>
                  <a:lnTo>
                    <a:pt x="3042092" y="3380714"/>
                  </a:lnTo>
                  <a:lnTo>
                    <a:pt x="2480855" y="3380714"/>
                  </a:lnTo>
                  <a:lnTo>
                    <a:pt x="2200126" y="2894715"/>
                  </a:lnTo>
                  <a:lnTo>
                    <a:pt x="2480689" y="2408883"/>
                  </a:lnTo>
                  <a:close/>
                  <a:moveTo>
                    <a:pt x="4754612" y="2408827"/>
                  </a:moveTo>
                  <a:lnTo>
                    <a:pt x="5035231" y="2894715"/>
                  </a:lnTo>
                  <a:lnTo>
                    <a:pt x="4754612" y="3380714"/>
                  </a:lnTo>
                  <a:lnTo>
                    <a:pt x="4193375" y="3380714"/>
                  </a:lnTo>
                  <a:lnTo>
                    <a:pt x="3912757" y="2894715"/>
                  </a:lnTo>
                  <a:lnTo>
                    <a:pt x="4193320" y="2408827"/>
                  </a:lnTo>
                  <a:close/>
                  <a:moveTo>
                    <a:pt x="6467576" y="2408384"/>
                  </a:moveTo>
                  <a:lnTo>
                    <a:pt x="6748083" y="2894217"/>
                  </a:lnTo>
                  <a:lnTo>
                    <a:pt x="6467409" y="3380326"/>
                  </a:lnTo>
                  <a:lnTo>
                    <a:pt x="5906173" y="3380326"/>
                  </a:lnTo>
                  <a:lnTo>
                    <a:pt x="5625554" y="2894272"/>
                  </a:lnTo>
                  <a:lnTo>
                    <a:pt x="5906006" y="2408384"/>
                  </a:lnTo>
                  <a:close/>
                  <a:moveTo>
                    <a:pt x="2185610" y="1914628"/>
                  </a:moveTo>
                  <a:lnTo>
                    <a:pt x="2466229" y="2400572"/>
                  </a:lnTo>
                  <a:lnTo>
                    <a:pt x="2423402" y="2474702"/>
                  </a:lnTo>
                  <a:lnTo>
                    <a:pt x="2185555" y="2886737"/>
                  </a:lnTo>
                  <a:lnTo>
                    <a:pt x="1624318" y="2886737"/>
                  </a:lnTo>
                  <a:lnTo>
                    <a:pt x="1344087" y="2401292"/>
                  </a:lnTo>
                  <a:lnTo>
                    <a:pt x="1625093" y="1914628"/>
                  </a:lnTo>
                  <a:close/>
                  <a:moveTo>
                    <a:pt x="3898186" y="1914462"/>
                  </a:moveTo>
                  <a:lnTo>
                    <a:pt x="4178804" y="2400461"/>
                  </a:lnTo>
                  <a:lnTo>
                    <a:pt x="3898241" y="2886349"/>
                  </a:lnTo>
                  <a:lnTo>
                    <a:pt x="3337115" y="2886349"/>
                  </a:lnTo>
                  <a:lnTo>
                    <a:pt x="3056441" y="2400295"/>
                  </a:lnTo>
                  <a:lnTo>
                    <a:pt x="3336949" y="1914462"/>
                  </a:lnTo>
                  <a:close/>
                  <a:moveTo>
                    <a:pt x="5610872" y="1914185"/>
                  </a:moveTo>
                  <a:lnTo>
                    <a:pt x="5891491" y="2400240"/>
                  </a:lnTo>
                  <a:lnTo>
                    <a:pt x="5610983" y="2886072"/>
                  </a:lnTo>
                  <a:lnTo>
                    <a:pt x="5049469" y="2886072"/>
                  </a:lnTo>
                  <a:lnTo>
                    <a:pt x="4768962" y="2400295"/>
                  </a:lnTo>
                  <a:lnTo>
                    <a:pt x="5049635" y="1914185"/>
                  </a:lnTo>
                  <a:close/>
                  <a:moveTo>
                    <a:pt x="7323669" y="1913853"/>
                  </a:moveTo>
                  <a:lnTo>
                    <a:pt x="7604232" y="2399852"/>
                  </a:lnTo>
                  <a:lnTo>
                    <a:pt x="7323669" y="2885740"/>
                  </a:lnTo>
                  <a:lnTo>
                    <a:pt x="6762377" y="2885740"/>
                  </a:lnTo>
                  <a:lnTo>
                    <a:pt x="6481870" y="2399741"/>
                  </a:lnTo>
                  <a:lnTo>
                    <a:pt x="6762322" y="1913853"/>
                  </a:lnTo>
                  <a:close/>
                  <a:moveTo>
                    <a:pt x="1330015" y="1420652"/>
                  </a:moveTo>
                  <a:lnTo>
                    <a:pt x="1610135" y="1905930"/>
                  </a:lnTo>
                  <a:lnTo>
                    <a:pt x="1329073" y="2392594"/>
                  </a:lnTo>
                  <a:lnTo>
                    <a:pt x="768723" y="2392594"/>
                  </a:lnTo>
                  <a:lnTo>
                    <a:pt x="487993" y="1906429"/>
                  </a:lnTo>
                  <a:lnTo>
                    <a:pt x="768446" y="1420652"/>
                  </a:lnTo>
                  <a:close/>
                  <a:moveTo>
                    <a:pt x="4754612" y="1420208"/>
                  </a:moveTo>
                  <a:lnTo>
                    <a:pt x="5035175" y="1906096"/>
                  </a:lnTo>
                  <a:lnTo>
                    <a:pt x="4754391" y="2392151"/>
                  </a:lnTo>
                  <a:lnTo>
                    <a:pt x="4193375" y="2392151"/>
                  </a:lnTo>
                  <a:lnTo>
                    <a:pt x="3912646" y="1905986"/>
                  </a:lnTo>
                  <a:lnTo>
                    <a:pt x="4193098" y="1420208"/>
                  </a:lnTo>
                  <a:close/>
                  <a:moveTo>
                    <a:pt x="3041704" y="1420097"/>
                  </a:moveTo>
                  <a:lnTo>
                    <a:pt x="3322322" y="1906207"/>
                  </a:lnTo>
                  <a:lnTo>
                    <a:pt x="3041925" y="2391985"/>
                  </a:lnTo>
                  <a:lnTo>
                    <a:pt x="2480523" y="2391985"/>
                  </a:lnTo>
                  <a:lnTo>
                    <a:pt x="2200347" y="1906706"/>
                  </a:lnTo>
                  <a:lnTo>
                    <a:pt x="2481187" y="1420097"/>
                  </a:lnTo>
                  <a:close/>
                  <a:moveTo>
                    <a:pt x="6467243" y="1419654"/>
                  </a:moveTo>
                  <a:lnTo>
                    <a:pt x="6747862" y="1905597"/>
                  </a:lnTo>
                  <a:lnTo>
                    <a:pt x="6467409" y="2391486"/>
                  </a:lnTo>
                  <a:lnTo>
                    <a:pt x="5905785" y="2391486"/>
                  </a:lnTo>
                  <a:lnTo>
                    <a:pt x="5625333" y="1905708"/>
                  </a:lnTo>
                  <a:lnTo>
                    <a:pt x="5735696" y="1714456"/>
                  </a:lnTo>
                  <a:lnTo>
                    <a:pt x="5905950" y="1419654"/>
                  </a:lnTo>
                  <a:close/>
                  <a:moveTo>
                    <a:pt x="8180151" y="1419654"/>
                  </a:moveTo>
                  <a:lnTo>
                    <a:pt x="8460603" y="1905487"/>
                  </a:lnTo>
                  <a:lnTo>
                    <a:pt x="8179984" y="2391652"/>
                  </a:lnTo>
                  <a:lnTo>
                    <a:pt x="7618914" y="2391652"/>
                  </a:lnTo>
                  <a:lnTo>
                    <a:pt x="7338130" y="1905432"/>
                  </a:lnTo>
                  <a:lnTo>
                    <a:pt x="7618582" y="1419654"/>
                  </a:lnTo>
                  <a:close/>
                  <a:moveTo>
                    <a:pt x="2186164" y="926120"/>
                  </a:moveTo>
                  <a:lnTo>
                    <a:pt x="2466395" y="1411344"/>
                  </a:lnTo>
                  <a:lnTo>
                    <a:pt x="2185555" y="1897952"/>
                  </a:lnTo>
                  <a:lnTo>
                    <a:pt x="1624817" y="1897952"/>
                  </a:lnTo>
                  <a:lnTo>
                    <a:pt x="1344253" y="1412064"/>
                  </a:lnTo>
                  <a:lnTo>
                    <a:pt x="1624817" y="926120"/>
                  </a:lnTo>
                  <a:close/>
                  <a:moveTo>
                    <a:pt x="3897853" y="925677"/>
                  </a:moveTo>
                  <a:lnTo>
                    <a:pt x="4178583" y="1411842"/>
                  </a:lnTo>
                  <a:lnTo>
                    <a:pt x="3898186" y="1897620"/>
                  </a:lnTo>
                  <a:lnTo>
                    <a:pt x="3336838" y="1897620"/>
                  </a:lnTo>
                  <a:lnTo>
                    <a:pt x="3056607" y="1412174"/>
                  </a:lnTo>
                  <a:lnTo>
                    <a:pt x="3337503" y="925677"/>
                  </a:lnTo>
                  <a:close/>
                  <a:moveTo>
                    <a:pt x="5610872" y="925622"/>
                  </a:moveTo>
                  <a:lnTo>
                    <a:pt x="5891380" y="1411455"/>
                  </a:lnTo>
                  <a:lnTo>
                    <a:pt x="5710376" y="1725093"/>
                  </a:lnTo>
                  <a:lnTo>
                    <a:pt x="5610761" y="1897453"/>
                  </a:lnTo>
                  <a:lnTo>
                    <a:pt x="5049414" y="1897453"/>
                  </a:lnTo>
                  <a:lnTo>
                    <a:pt x="4768851" y="1411565"/>
                  </a:lnTo>
                  <a:lnTo>
                    <a:pt x="5049469" y="925622"/>
                  </a:lnTo>
                  <a:close/>
                  <a:moveTo>
                    <a:pt x="7323392" y="925123"/>
                  </a:moveTo>
                  <a:lnTo>
                    <a:pt x="7604121" y="1411344"/>
                  </a:lnTo>
                  <a:lnTo>
                    <a:pt x="7323558" y="1896955"/>
                  </a:lnTo>
                  <a:lnTo>
                    <a:pt x="6762100" y="1896955"/>
                  </a:lnTo>
                  <a:lnTo>
                    <a:pt x="6481537" y="1411178"/>
                  </a:lnTo>
                  <a:lnTo>
                    <a:pt x="6591069" y="1221532"/>
                  </a:lnTo>
                  <a:lnTo>
                    <a:pt x="6762266" y="925123"/>
                  </a:lnTo>
                  <a:close/>
                  <a:moveTo>
                    <a:pt x="9036411" y="925068"/>
                  </a:moveTo>
                  <a:lnTo>
                    <a:pt x="9316919" y="1410955"/>
                  </a:lnTo>
                  <a:lnTo>
                    <a:pt x="9036245" y="1896955"/>
                  </a:lnTo>
                  <a:lnTo>
                    <a:pt x="8475008" y="1896955"/>
                  </a:lnTo>
                  <a:lnTo>
                    <a:pt x="8194389" y="1411066"/>
                  </a:lnTo>
                  <a:lnTo>
                    <a:pt x="8475008" y="925068"/>
                  </a:lnTo>
                  <a:close/>
                  <a:moveTo>
                    <a:pt x="1329738" y="432032"/>
                  </a:moveTo>
                  <a:lnTo>
                    <a:pt x="1610245" y="917810"/>
                  </a:lnTo>
                  <a:lnTo>
                    <a:pt x="1329627" y="1403864"/>
                  </a:lnTo>
                  <a:lnTo>
                    <a:pt x="768446" y="1403864"/>
                  </a:lnTo>
                  <a:lnTo>
                    <a:pt x="487827" y="917810"/>
                  </a:lnTo>
                  <a:lnTo>
                    <a:pt x="768335" y="432032"/>
                  </a:lnTo>
                  <a:close/>
                  <a:moveTo>
                    <a:pt x="3042369" y="431534"/>
                  </a:moveTo>
                  <a:lnTo>
                    <a:pt x="3322599" y="916979"/>
                  </a:lnTo>
                  <a:lnTo>
                    <a:pt x="3041704" y="1403366"/>
                  </a:lnTo>
                  <a:lnTo>
                    <a:pt x="2481187" y="1403366"/>
                  </a:lnTo>
                  <a:lnTo>
                    <a:pt x="2200569" y="917422"/>
                  </a:lnTo>
                  <a:lnTo>
                    <a:pt x="2481021" y="431534"/>
                  </a:lnTo>
                  <a:close/>
                  <a:moveTo>
                    <a:pt x="4754335" y="431534"/>
                  </a:moveTo>
                  <a:lnTo>
                    <a:pt x="5034898" y="917477"/>
                  </a:lnTo>
                  <a:lnTo>
                    <a:pt x="4754169" y="1403366"/>
                  </a:lnTo>
                  <a:lnTo>
                    <a:pt x="4193043" y="1403366"/>
                  </a:lnTo>
                  <a:lnTo>
                    <a:pt x="3912701" y="917810"/>
                  </a:lnTo>
                  <a:lnTo>
                    <a:pt x="4193541" y="431534"/>
                  </a:lnTo>
                  <a:close/>
                  <a:moveTo>
                    <a:pt x="6467243" y="431090"/>
                  </a:moveTo>
                  <a:lnTo>
                    <a:pt x="6747695" y="916979"/>
                  </a:lnTo>
                  <a:lnTo>
                    <a:pt x="6693400" y="1011054"/>
                  </a:lnTo>
                  <a:lnTo>
                    <a:pt x="6467077" y="1403033"/>
                  </a:lnTo>
                  <a:lnTo>
                    <a:pt x="5905729" y="1403033"/>
                  </a:lnTo>
                  <a:lnTo>
                    <a:pt x="5625166" y="916979"/>
                  </a:lnTo>
                  <a:lnTo>
                    <a:pt x="5905674" y="431090"/>
                  </a:lnTo>
                  <a:close/>
                  <a:moveTo>
                    <a:pt x="8179874" y="431035"/>
                  </a:moveTo>
                  <a:lnTo>
                    <a:pt x="8460326" y="916812"/>
                  </a:lnTo>
                  <a:lnTo>
                    <a:pt x="8179818" y="1402867"/>
                  </a:lnTo>
                  <a:lnTo>
                    <a:pt x="7618582" y="1402867"/>
                  </a:lnTo>
                  <a:lnTo>
                    <a:pt x="7337963" y="916812"/>
                  </a:lnTo>
                  <a:lnTo>
                    <a:pt x="7618471" y="431035"/>
                  </a:lnTo>
                  <a:close/>
                  <a:moveTo>
                    <a:pt x="9892505" y="430592"/>
                  </a:moveTo>
                  <a:lnTo>
                    <a:pt x="10173123" y="916536"/>
                  </a:lnTo>
                  <a:lnTo>
                    <a:pt x="9892560" y="1402534"/>
                  </a:lnTo>
                  <a:lnTo>
                    <a:pt x="9331323" y="1402534"/>
                  </a:lnTo>
                  <a:lnTo>
                    <a:pt x="9050650" y="916424"/>
                  </a:lnTo>
                  <a:lnTo>
                    <a:pt x="9331157" y="430592"/>
                  </a:lnTo>
                  <a:close/>
                  <a:moveTo>
                    <a:pt x="11863054" y="0"/>
                  </a:moveTo>
                  <a:lnTo>
                    <a:pt x="11843939" y="0"/>
                  </a:lnTo>
                  <a:lnTo>
                    <a:pt x="11604970" y="413916"/>
                  </a:lnTo>
                  <a:lnTo>
                    <a:pt x="11043788" y="413916"/>
                  </a:lnTo>
                  <a:lnTo>
                    <a:pt x="10804853" y="0"/>
                  </a:lnTo>
                  <a:lnTo>
                    <a:pt x="10785529" y="0"/>
                  </a:lnTo>
                  <a:lnTo>
                    <a:pt x="11029217" y="422170"/>
                  </a:lnTo>
                  <a:lnTo>
                    <a:pt x="10748654" y="908114"/>
                  </a:lnTo>
                  <a:lnTo>
                    <a:pt x="10187639" y="908114"/>
                  </a:lnTo>
                  <a:lnTo>
                    <a:pt x="9906965" y="421949"/>
                  </a:lnTo>
                  <a:lnTo>
                    <a:pt x="10150539" y="0"/>
                  </a:lnTo>
                  <a:lnTo>
                    <a:pt x="10131190" y="0"/>
                  </a:lnTo>
                  <a:lnTo>
                    <a:pt x="9892339" y="413638"/>
                  </a:lnTo>
                  <a:lnTo>
                    <a:pt x="9330991" y="413638"/>
                  </a:lnTo>
                  <a:lnTo>
                    <a:pt x="9092139" y="0"/>
                  </a:lnTo>
                  <a:lnTo>
                    <a:pt x="9072826" y="0"/>
                  </a:lnTo>
                  <a:lnTo>
                    <a:pt x="9316642" y="422392"/>
                  </a:lnTo>
                  <a:lnTo>
                    <a:pt x="9036189" y="908170"/>
                  </a:lnTo>
                  <a:lnTo>
                    <a:pt x="8474731" y="908170"/>
                  </a:lnTo>
                  <a:lnTo>
                    <a:pt x="8194168" y="422503"/>
                  </a:lnTo>
                  <a:lnTo>
                    <a:pt x="8438136" y="0"/>
                  </a:lnTo>
                  <a:lnTo>
                    <a:pt x="8418811" y="0"/>
                  </a:lnTo>
                  <a:lnTo>
                    <a:pt x="8179597" y="414303"/>
                  </a:lnTo>
                  <a:lnTo>
                    <a:pt x="7618582" y="414303"/>
                  </a:lnTo>
                  <a:lnTo>
                    <a:pt x="7379274" y="0"/>
                  </a:lnTo>
                  <a:lnTo>
                    <a:pt x="7359940" y="0"/>
                  </a:lnTo>
                  <a:lnTo>
                    <a:pt x="7603955" y="422558"/>
                  </a:lnTo>
                  <a:lnTo>
                    <a:pt x="7323337" y="908447"/>
                  </a:lnTo>
                  <a:lnTo>
                    <a:pt x="6762100" y="908447"/>
                  </a:lnTo>
                  <a:lnTo>
                    <a:pt x="6481482" y="422503"/>
                  </a:lnTo>
                  <a:lnTo>
                    <a:pt x="6725445" y="0"/>
                  </a:lnTo>
                  <a:lnTo>
                    <a:pt x="6706132" y="0"/>
                  </a:lnTo>
                  <a:lnTo>
                    <a:pt x="6466910" y="414303"/>
                  </a:lnTo>
                  <a:lnTo>
                    <a:pt x="5905508" y="414303"/>
                  </a:lnTo>
                  <a:lnTo>
                    <a:pt x="5666338" y="0"/>
                  </a:lnTo>
                  <a:lnTo>
                    <a:pt x="5646974" y="0"/>
                  </a:lnTo>
                  <a:lnTo>
                    <a:pt x="5891214" y="422946"/>
                  </a:lnTo>
                  <a:lnTo>
                    <a:pt x="5618463" y="895261"/>
                  </a:lnTo>
                  <a:lnTo>
                    <a:pt x="5610706" y="908835"/>
                  </a:lnTo>
                  <a:lnTo>
                    <a:pt x="5049192" y="908835"/>
                  </a:lnTo>
                  <a:lnTo>
                    <a:pt x="4769017" y="423556"/>
                  </a:lnTo>
                  <a:lnTo>
                    <a:pt x="5013591" y="0"/>
                  </a:lnTo>
                  <a:lnTo>
                    <a:pt x="4993649" y="0"/>
                  </a:lnTo>
                  <a:lnTo>
                    <a:pt x="4754058" y="414857"/>
                  </a:lnTo>
                  <a:lnTo>
                    <a:pt x="4193652" y="414857"/>
                  </a:lnTo>
                  <a:lnTo>
                    <a:pt x="3954146" y="0"/>
                  </a:lnTo>
                  <a:lnTo>
                    <a:pt x="3934827" y="0"/>
                  </a:lnTo>
                  <a:lnTo>
                    <a:pt x="4178860" y="422669"/>
                  </a:lnTo>
                  <a:lnTo>
                    <a:pt x="3898186" y="909056"/>
                  </a:lnTo>
                  <a:lnTo>
                    <a:pt x="3337503" y="909056"/>
                  </a:lnTo>
                  <a:lnTo>
                    <a:pt x="3056829" y="422946"/>
                  </a:lnTo>
                  <a:lnTo>
                    <a:pt x="3300979" y="0"/>
                  </a:lnTo>
                  <a:lnTo>
                    <a:pt x="3281513" y="0"/>
                  </a:lnTo>
                  <a:lnTo>
                    <a:pt x="3042203" y="414691"/>
                  </a:lnTo>
                  <a:lnTo>
                    <a:pt x="2480855" y="414691"/>
                  </a:lnTo>
                  <a:lnTo>
                    <a:pt x="2241403" y="0"/>
                  </a:lnTo>
                  <a:lnTo>
                    <a:pt x="2222087" y="0"/>
                  </a:lnTo>
                  <a:lnTo>
                    <a:pt x="2466505" y="423389"/>
                  </a:lnTo>
                  <a:lnTo>
                    <a:pt x="2214697" y="859580"/>
                  </a:lnTo>
                  <a:lnTo>
                    <a:pt x="2186053" y="909278"/>
                  </a:lnTo>
                  <a:lnTo>
                    <a:pt x="1624539" y="909278"/>
                  </a:lnTo>
                  <a:lnTo>
                    <a:pt x="1344087" y="423445"/>
                  </a:lnTo>
                  <a:lnTo>
                    <a:pt x="1588559" y="0"/>
                  </a:lnTo>
                  <a:lnTo>
                    <a:pt x="1569223" y="0"/>
                  </a:lnTo>
                  <a:lnTo>
                    <a:pt x="1329461" y="415301"/>
                  </a:lnTo>
                  <a:lnTo>
                    <a:pt x="768446" y="415301"/>
                  </a:lnTo>
                  <a:lnTo>
                    <a:pt x="528589" y="0"/>
                  </a:lnTo>
                  <a:lnTo>
                    <a:pt x="509180" y="0"/>
                  </a:lnTo>
                  <a:lnTo>
                    <a:pt x="753764" y="423667"/>
                  </a:lnTo>
                  <a:lnTo>
                    <a:pt x="473201" y="909444"/>
                  </a:lnTo>
                  <a:lnTo>
                    <a:pt x="0" y="909444"/>
                  </a:lnTo>
                  <a:lnTo>
                    <a:pt x="0" y="926120"/>
                  </a:lnTo>
                  <a:lnTo>
                    <a:pt x="473201" y="926120"/>
                  </a:lnTo>
                  <a:lnTo>
                    <a:pt x="754041" y="1412285"/>
                  </a:lnTo>
                  <a:lnTo>
                    <a:pt x="473533" y="1898063"/>
                  </a:lnTo>
                  <a:lnTo>
                    <a:pt x="0" y="1898063"/>
                  </a:lnTo>
                  <a:lnTo>
                    <a:pt x="0" y="1914850"/>
                  </a:lnTo>
                  <a:lnTo>
                    <a:pt x="473533" y="1914850"/>
                  </a:lnTo>
                  <a:lnTo>
                    <a:pt x="753875" y="2400517"/>
                  </a:lnTo>
                  <a:lnTo>
                    <a:pt x="473201" y="2886737"/>
                  </a:lnTo>
                  <a:lnTo>
                    <a:pt x="0" y="2886737"/>
                  </a:lnTo>
                  <a:lnTo>
                    <a:pt x="0" y="2903414"/>
                  </a:lnTo>
                  <a:lnTo>
                    <a:pt x="472924" y="2903414"/>
                  </a:lnTo>
                  <a:lnTo>
                    <a:pt x="753597" y="3389579"/>
                  </a:lnTo>
                  <a:lnTo>
                    <a:pt x="473201" y="3875245"/>
                  </a:lnTo>
                  <a:lnTo>
                    <a:pt x="0" y="3875245"/>
                  </a:lnTo>
                  <a:lnTo>
                    <a:pt x="0" y="3892032"/>
                  </a:lnTo>
                  <a:lnTo>
                    <a:pt x="473367" y="3892032"/>
                  </a:lnTo>
                  <a:lnTo>
                    <a:pt x="753875" y="4377921"/>
                  </a:lnTo>
                  <a:lnTo>
                    <a:pt x="473201" y="4863975"/>
                  </a:lnTo>
                  <a:lnTo>
                    <a:pt x="0" y="4863975"/>
                  </a:lnTo>
                  <a:lnTo>
                    <a:pt x="0" y="4880651"/>
                  </a:lnTo>
                  <a:lnTo>
                    <a:pt x="473422" y="4880651"/>
                  </a:lnTo>
                  <a:lnTo>
                    <a:pt x="754041" y="5366650"/>
                  </a:lnTo>
                  <a:lnTo>
                    <a:pt x="473478" y="5852538"/>
                  </a:lnTo>
                  <a:lnTo>
                    <a:pt x="0" y="5852538"/>
                  </a:lnTo>
                  <a:lnTo>
                    <a:pt x="0" y="5869436"/>
                  </a:lnTo>
                  <a:lnTo>
                    <a:pt x="473699" y="5869436"/>
                  </a:lnTo>
                  <a:lnTo>
                    <a:pt x="754262" y="6355158"/>
                  </a:lnTo>
                  <a:lnTo>
                    <a:pt x="473644" y="6841324"/>
                  </a:lnTo>
                  <a:lnTo>
                    <a:pt x="0" y="6841324"/>
                  </a:lnTo>
                  <a:lnTo>
                    <a:pt x="0" y="6858000"/>
                  </a:lnTo>
                  <a:lnTo>
                    <a:pt x="483173" y="6858000"/>
                  </a:lnTo>
                  <a:lnTo>
                    <a:pt x="773377" y="6355214"/>
                  </a:lnTo>
                  <a:lnTo>
                    <a:pt x="487938" y="5860849"/>
                  </a:lnTo>
                  <a:lnTo>
                    <a:pt x="773266" y="5366761"/>
                  </a:lnTo>
                  <a:lnTo>
                    <a:pt x="487716" y="4872175"/>
                  </a:lnTo>
                  <a:lnTo>
                    <a:pt x="773099" y="4378031"/>
                  </a:lnTo>
                  <a:lnTo>
                    <a:pt x="487606" y="3883611"/>
                  </a:lnTo>
                  <a:lnTo>
                    <a:pt x="768002" y="3398111"/>
                  </a:lnTo>
                  <a:lnTo>
                    <a:pt x="1338990" y="3398111"/>
                  </a:lnTo>
                  <a:lnTo>
                    <a:pt x="1624539" y="2903469"/>
                  </a:lnTo>
                  <a:lnTo>
                    <a:pt x="2185943" y="2903469"/>
                  </a:lnTo>
                  <a:lnTo>
                    <a:pt x="2466505" y="3389246"/>
                  </a:lnTo>
                  <a:lnTo>
                    <a:pt x="2185887" y="3875245"/>
                  </a:lnTo>
                  <a:lnTo>
                    <a:pt x="1615010" y="3875245"/>
                  </a:lnTo>
                  <a:lnTo>
                    <a:pt x="1324807" y="4378031"/>
                  </a:lnTo>
                  <a:lnTo>
                    <a:pt x="1610245" y="4872396"/>
                  </a:lnTo>
                  <a:lnTo>
                    <a:pt x="1324973" y="5366595"/>
                  </a:lnTo>
                  <a:lnTo>
                    <a:pt x="1615232" y="5869215"/>
                  </a:lnTo>
                  <a:lnTo>
                    <a:pt x="2195693" y="5869215"/>
                  </a:lnTo>
                  <a:lnTo>
                    <a:pt x="2485952" y="5366539"/>
                  </a:lnTo>
                  <a:lnTo>
                    <a:pt x="2200403" y="4872064"/>
                  </a:lnTo>
                  <a:lnTo>
                    <a:pt x="2481021" y="4386120"/>
                  </a:lnTo>
                  <a:lnTo>
                    <a:pt x="3042369" y="4386120"/>
                  </a:lnTo>
                  <a:lnTo>
                    <a:pt x="3327641" y="4880263"/>
                  </a:lnTo>
                  <a:lnTo>
                    <a:pt x="3908214" y="4880263"/>
                  </a:lnTo>
                  <a:lnTo>
                    <a:pt x="4193541" y="4386120"/>
                  </a:lnTo>
                  <a:lnTo>
                    <a:pt x="4764474" y="4386120"/>
                  </a:lnTo>
                  <a:lnTo>
                    <a:pt x="5050023" y="3891478"/>
                  </a:lnTo>
                  <a:lnTo>
                    <a:pt x="5620734" y="3891478"/>
                  </a:lnTo>
                  <a:lnTo>
                    <a:pt x="5906173" y="3396948"/>
                  </a:lnTo>
                  <a:lnTo>
                    <a:pt x="6476938" y="3396948"/>
                  </a:lnTo>
                  <a:lnTo>
                    <a:pt x="6762488" y="2902416"/>
                  </a:lnTo>
                  <a:lnTo>
                    <a:pt x="7333199" y="2902416"/>
                  </a:lnTo>
                  <a:lnTo>
                    <a:pt x="7618637" y="2408218"/>
                  </a:lnTo>
                  <a:lnTo>
                    <a:pt x="8189569" y="2408218"/>
                  </a:lnTo>
                  <a:lnTo>
                    <a:pt x="8475063" y="1913631"/>
                  </a:lnTo>
                  <a:lnTo>
                    <a:pt x="9045830" y="1913631"/>
                  </a:lnTo>
                  <a:lnTo>
                    <a:pt x="9331379" y="1419100"/>
                  </a:lnTo>
                  <a:lnTo>
                    <a:pt x="9902145" y="1419100"/>
                  </a:lnTo>
                  <a:lnTo>
                    <a:pt x="10187584" y="924680"/>
                  </a:lnTo>
                  <a:lnTo>
                    <a:pt x="10758184" y="924680"/>
                  </a:lnTo>
                  <a:lnTo>
                    <a:pt x="11043511" y="430537"/>
                  </a:lnTo>
                  <a:lnTo>
                    <a:pt x="11614444" y="430537"/>
                  </a:lnTo>
                  <a:close/>
                </a:path>
              </a:pathLst>
            </a:custGeom>
            <a:solidFill>
              <a:schemeClr val="accent5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9" name="Picture 19" descr="Gavi-logo - The Rockefeller Foundation">
            <a:extLst>
              <a:ext uri="{FF2B5EF4-FFF2-40B4-BE49-F238E27FC236}">
                <a16:creationId xmlns:a16="http://schemas.microsoft.com/office/drawing/2014/main" id="{91670609-4AC7-4755-883F-480F58726A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45"/>
          <a:stretch/>
        </p:blipFill>
        <p:spPr bwMode="ltGray">
          <a:xfrm>
            <a:off x="525802" y="2586861"/>
            <a:ext cx="1525462" cy="56669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World Health Organization (WHO) – Logos Download">
            <a:extLst>
              <a:ext uri="{FF2B5EF4-FFF2-40B4-BE49-F238E27FC236}">
                <a16:creationId xmlns:a16="http://schemas.microsoft.com/office/drawing/2014/main" id="{1BB7E67F-B980-424D-BC88-EA4118E7E9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533703" y="2578553"/>
            <a:ext cx="2135706" cy="6301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3" descr="Coalition for Epidemic Preparedness Innovations - Wikiwand">
            <a:extLst>
              <a:ext uri="{FF2B5EF4-FFF2-40B4-BE49-F238E27FC236}">
                <a16:creationId xmlns:a16="http://schemas.microsoft.com/office/drawing/2014/main" id="{C31E93E6-D8A7-4DA5-A473-05691AC87B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25802" y="1783462"/>
            <a:ext cx="1354280" cy="3981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7D74A622-9FEC-47DB-8F82-F0FB23E2276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25802" y="6312004"/>
            <a:ext cx="660313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D05A6F9C-2B50-4D01-8CEE-A681E5B79C2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802" y="5901632"/>
            <a:ext cx="660313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4A0C779C-C2FF-4A27-A2DA-A54B7440BBD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5802" y="3952377"/>
            <a:ext cx="6603131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4233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299508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73417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036807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57975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4D3F40-03B6-44EA-88EF-ED25EFFC38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373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062550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0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39A8E68-A374-4DC8-A93F-4268A73EB6AD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15427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E75C348-73B0-41AE-9D2B-FE7D86D54583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63802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C4E05E8-936F-4033-8E28-43D9D2170557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7956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8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BD8C3CA-1B4B-440A-89B5-F939DD2975DE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782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69332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214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F1AC84-6DFB-4987-8CB6-D62E3F5563A0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noProof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noProof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9148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36933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238574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121528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53430D4-7C5D-4CF9-BDBD-E1A8EECB92C4}"/>
              </a:ext>
            </a:extLst>
          </p:cNvPr>
          <p:cNvGrpSpPr/>
          <p:nvPr userDrawn="1"/>
        </p:nvGrpSpPr>
        <p:grpSpPr>
          <a:xfrm>
            <a:off x="2751423" y="3068149"/>
            <a:ext cx="6689154" cy="721703"/>
            <a:chOff x="5138582" y="5814433"/>
            <a:chExt cx="6689154" cy="721703"/>
          </a:xfrm>
        </p:grpSpPr>
        <p:pic>
          <p:nvPicPr>
            <p:cNvPr id="5" name="Picture 19" descr="Gavi-logo - The Rockefeller Foundation">
              <a:extLst>
                <a:ext uri="{FF2B5EF4-FFF2-40B4-BE49-F238E27FC236}">
                  <a16:creationId xmlns:a16="http://schemas.microsoft.com/office/drawing/2014/main" id="{0154AF5A-AF00-4CDA-AA01-149030E622D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9667" y="5839123"/>
              <a:ext cx="1792858" cy="672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World Health Organization (WHO) – Logos Download">
              <a:extLst>
                <a:ext uri="{FF2B5EF4-FFF2-40B4-BE49-F238E27FC236}">
                  <a16:creationId xmlns:a16="http://schemas.microsoft.com/office/drawing/2014/main" id="{68131BD8-6DEE-4EC5-A661-84E44336A75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81716" y="5814433"/>
              <a:ext cx="2446020" cy="721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3" descr="Coalition for Epidemic Preparedness Innovations - Wikiwand">
              <a:extLst>
                <a:ext uri="{FF2B5EF4-FFF2-40B4-BE49-F238E27FC236}">
                  <a16:creationId xmlns:a16="http://schemas.microsoft.com/office/drawing/2014/main" id="{80F97074-D4FF-49B2-813C-6FDB4CA6DE9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8582" y="5935396"/>
              <a:ext cx="1631894" cy="479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098535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72475"/>
            <a:ext cx="10972801" cy="596295"/>
          </a:xfrm>
          <a:prstGeom prst="rect">
            <a:avLst/>
          </a:prstGeom>
        </p:spPr>
        <p:txBody>
          <a:bodyPr anchor="ctr"/>
          <a:lstStyle>
            <a:lvl1pPr algn="l"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09600" y="1287625"/>
            <a:ext cx="10972801" cy="4460033"/>
          </a:xfrm>
          <a:prstGeom prst="rect">
            <a:avLst/>
          </a:prstGeom>
        </p:spPr>
        <p:txBody>
          <a:bodyPr>
            <a:normAutofit/>
          </a:bodyPr>
          <a:lstStyle>
            <a:lvl1pPr marL="251460" indent="-251460">
              <a:buClr>
                <a:schemeClr val="accent1"/>
              </a:buClr>
              <a:buSzPct val="100000"/>
              <a:buFont typeface="Arial" charset="0"/>
              <a:buChar char="•"/>
              <a:defRPr>
                <a:solidFill>
                  <a:schemeClr val="tx1"/>
                </a:solidFill>
              </a:defRPr>
            </a:lvl1pPr>
            <a:lvl2pPr marL="557784" indent="-285750">
              <a:buClr>
                <a:schemeClr val="tx2"/>
              </a:buClr>
              <a:buSzPct val="100000"/>
              <a:buFont typeface=".AppleSystemUIFont" charset="-120"/>
              <a:buChar char="-"/>
              <a:defRPr lang="en-US" sz="18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22960" indent="-228600">
              <a:buClr>
                <a:schemeClr val="accent1"/>
              </a:buClr>
              <a:buSzPct val="90000"/>
              <a:buFont typeface="Arial" charset="0"/>
              <a:buChar char="•"/>
              <a:defRPr lang="en-US" sz="16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097280" indent="-228600">
              <a:buClr>
                <a:schemeClr val="tx2"/>
              </a:buClr>
              <a:buFont typeface=".HelveticaNeueDeskInterface-Regular" charset="0"/>
              <a:buChar char="-"/>
              <a:defRPr lang="en-US" sz="160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03070" indent="-285750">
              <a:buFont typeface="ArialMT" charset="0"/>
              <a:buChar char="–"/>
              <a:defRPr lang="en-US" sz="1600" kern="1200" dirty="0">
                <a:solidFill>
                  <a:srgbClr val="88817D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71504"/>
            <a:ext cx="512064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01978A-12D8-7341-B685-52B12E8D30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77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F9E554-3C1C-41B6-ADC5-76517CC50A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672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  <a:endParaRPr lang="en-US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39" y="64881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cs typeface="Arial" panose="020B0604020202020204" pitchFamily="34" charset="0"/>
              </a:rPr>
              <a:pPr lvl="0" algn="ct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  <a:endParaRPr lang="en-U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5257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;p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5EE9726-ABDB-4430-AF6D-7D9FBF9B3533}" type="slidenum">
              <a:rPr/>
              <a:t>‹#›</a:t>
            </a:fld>
            <a:endParaRPr lang="en-US"/>
          </a:p>
        </p:txBody>
      </p:sp>
      <p:sp>
        <p:nvSpPr>
          <p:cNvPr id="3" name="Google Shape;29;p3"/>
          <p:cNvSpPr txBox="1">
            <a:spLocks noGrp="1"/>
          </p:cNvSpPr>
          <p:nvPr>
            <p:ph type="body" idx="4294967295"/>
          </p:nvPr>
        </p:nvSpPr>
        <p:spPr>
          <a:xfrm>
            <a:off x="479995" y="6293650"/>
            <a:ext cx="11226363" cy="208574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/>
          </a:p>
        </p:txBody>
      </p:sp>
      <p:sp>
        <p:nvSpPr>
          <p:cNvPr id="4" name="Google Shape;30;p3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2915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BDC1D-433B-4E16-85A9-DB4849073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01222-F3A4-480D-86CD-81DF7459A8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48174-7F55-49D5-856B-66799CF92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8295-AE51-4C02-93B4-7772FB1DE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C6BAD-7E8B-44FE-B282-4EF7EB0D7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3FF5-EC98-4436-B06A-5C7CB1ED8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8180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2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CCCD4C1-A8D4-4215-9B65-238A6E454EC9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9030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012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433" descr="Image result for who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3166" y="6301171"/>
            <a:ext cx="901060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230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5434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/>
        </p:nvGrpSpPr>
        <p:grpSpPr>
          <a:xfrm>
            <a:off x="0" y="0"/>
            <a:ext cx="3915966" cy="6858002"/>
            <a:chOff x="-2" y="-2"/>
            <a:chExt cx="4152360" cy="6858002"/>
          </a:xfrm>
        </p:grpSpPr>
        <p:pic>
          <p:nvPicPr>
            <p:cNvPr id="35" name="Picture 34"/>
            <p:cNvPicPr>
              <a:picLocks noChangeAspect="1" noChangeArrowheads="1"/>
            </p:cNvPicPr>
            <p:nvPr/>
          </p:nvPicPr>
          <p:blipFill rotWithShape="1">
            <a:blip r:embed="rId6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6" name="Freeform 35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ltGray">
          <a:xfrm>
            <a:off x="4107093" y="3520599"/>
            <a:ext cx="70859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4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107094" y="4390276"/>
            <a:ext cx="70859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7093" y="1304113"/>
            <a:ext cx="4185239" cy="129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Connector 44"/>
          <p:cNvCxnSpPr>
            <a:cxnSpLocks/>
          </p:cNvCxnSpPr>
          <p:nvPr userDrawn="1"/>
        </p:nvCxnSpPr>
        <p:spPr>
          <a:xfrm flipH="1">
            <a:off x="4107094" y="4293990"/>
            <a:ext cx="708596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1258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433" descr="Image result for who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3166" y="6301171"/>
            <a:ext cx="901060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558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521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79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image" Target="../media/image14.emf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vmlDrawing" Target="../drawings/vmlDrawing71.v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oleObject" Target="../embeddings/oleObject71.bin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tags" Target="../tags/tag129.xml"/><Relationship Id="rId41" Type="http://schemas.openxmlformats.org/officeDocument/2006/relationships/tags" Target="../tags/tag141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heme" Target="../theme/theme2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46.xml"/><Relationship Id="rId55" Type="http://schemas.openxmlformats.org/officeDocument/2006/relationships/slideLayout" Target="../slideLayouts/slideLayout151.xml"/><Relationship Id="rId63" Type="http://schemas.openxmlformats.org/officeDocument/2006/relationships/slideLayout" Target="../slideLayouts/slideLayout159.xml"/><Relationship Id="rId68" Type="http://schemas.openxmlformats.org/officeDocument/2006/relationships/slideLayout" Target="../slideLayouts/slideLayout164.xml"/><Relationship Id="rId76" Type="http://schemas.openxmlformats.org/officeDocument/2006/relationships/oleObject" Target="../embeddings/oleObject90.bin"/><Relationship Id="rId7" Type="http://schemas.openxmlformats.org/officeDocument/2006/relationships/slideLayout" Target="../slideLayouts/slideLayout103.xml"/><Relationship Id="rId71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41.xml"/><Relationship Id="rId53" Type="http://schemas.openxmlformats.org/officeDocument/2006/relationships/slideLayout" Target="../slideLayouts/slideLayout149.xml"/><Relationship Id="rId58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62.xml"/><Relationship Id="rId74" Type="http://schemas.openxmlformats.org/officeDocument/2006/relationships/vmlDrawing" Target="../drawings/vmlDrawing91.v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slideLayout" Target="../slideLayouts/slideLayout145.xml"/><Relationship Id="rId57" Type="http://schemas.openxmlformats.org/officeDocument/2006/relationships/slideLayout" Target="../slideLayouts/slideLayout153.xml"/><Relationship Id="rId61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slideLayout" Target="../slideLayouts/slideLayout140.xml"/><Relationship Id="rId52" Type="http://schemas.openxmlformats.org/officeDocument/2006/relationships/slideLayout" Target="../slideLayouts/slideLayout148.xml"/><Relationship Id="rId60" Type="http://schemas.openxmlformats.org/officeDocument/2006/relationships/slideLayout" Target="../slideLayouts/slideLayout156.xml"/><Relationship Id="rId65" Type="http://schemas.openxmlformats.org/officeDocument/2006/relationships/slideLayout" Target="../slideLayouts/slideLayout161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52.xml"/><Relationship Id="rId64" Type="http://schemas.openxmlformats.org/officeDocument/2006/relationships/slideLayout" Target="../slideLayouts/slideLayout160.xml"/><Relationship Id="rId69" Type="http://schemas.openxmlformats.org/officeDocument/2006/relationships/slideLayout" Target="../slideLayouts/slideLayout165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104.xml"/><Relationship Id="rId51" Type="http://schemas.openxmlformats.org/officeDocument/2006/relationships/slideLayout" Target="../slideLayouts/slideLayout147.xml"/><Relationship Id="rId72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42.xml"/><Relationship Id="rId59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Relationship Id="rId54" Type="http://schemas.openxmlformats.org/officeDocument/2006/relationships/slideLayout" Target="../slideLayouts/slideLayout150.xml"/><Relationship Id="rId62" Type="http://schemas.openxmlformats.org/officeDocument/2006/relationships/slideLayout" Target="../slideLayouts/slideLayout158.xml"/><Relationship Id="rId70" Type="http://schemas.openxmlformats.org/officeDocument/2006/relationships/slideLayout" Target="../slideLayouts/slideLayout166.xml"/><Relationship Id="rId75" Type="http://schemas.openxmlformats.org/officeDocument/2006/relationships/tags" Target="../tags/tag250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9" Type="http://schemas.openxmlformats.org/officeDocument/2006/relationships/oleObject" Target="../embeddings/oleObject155.bin"/><Relationship Id="rId3" Type="http://schemas.openxmlformats.org/officeDocument/2006/relationships/slideLayout" Target="../slideLayouts/slideLayout171.xml"/><Relationship Id="rId21" Type="http://schemas.openxmlformats.org/officeDocument/2006/relationships/tags" Target="../tags/tag330.xml"/><Relationship Id="rId34" Type="http://schemas.openxmlformats.org/officeDocument/2006/relationships/tags" Target="../tags/tag343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vmlDrawing" Target="../drawings/vmlDrawing160.vml"/><Relationship Id="rId25" Type="http://schemas.openxmlformats.org/officeDocument/2006/relationships/tags" Target="../tags/tag334.xml"/><Relationship Id="rId33" Type="http://schemas.openxmlformats.org/officeDocument/2006/relationships/tags" Target="../tags/tag342.xml"/><Relationship Id="rId38" Type="http://schemas.openxmlformats.org/officeDocument/2006/relationships/tags" Target="../tags/tag347.xml"/><Relationship Id="rId2" Type="http://schemas.openxmlformats.org/officeDocument/2006/relationships/slideLayout" Target="../slideLayouts/slideLayout170.xml"/><Relationship Id="rId16" Type="http://schemas.openxmlformats.org/officeDocument/2006/relationships/theme" Target="../theme/theme4.xml"/><Relationship Id="rId20" Type="http://schemas.openxmlformats.org/officeDocument/2006/relationships/tags" Target="../tags/tag329.xml"/><Relationship Id="rId29" Type="http://schemas.openxmlformats.org/officeDocument/2006/relationships/tags" Target="../tags/tag33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ags" Target="../tags/tag333.xml"/><Relationship Id="rId32" Type="http://schemas.openxmlformats.org/officeDocument/2006/relationships/tags" Target="../tags/tag341.xml"/><Relationship Id="rId37" Type="http://schemas.openxmlformats.org/officeDocument/2006/relationships/tags" Target="../tags/tag346.xml"/><Relationship Id="rId40" Type="http://schemas.openxmlformats.org/officeDocument/2006/relationships/image" Target="../media/image13.emf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tags" Target="../tags/tag332.xml"/><Relationship Id="rId28" Type="http://schemas.openxmlformats.org/officeDocument/2006/relationships/tags" Target="../tags/tag337.xml"/><Relationship Id="rId36" Type="http://schemas.openxmlformats.org/officeDocument/2006/relationships/tags" Target="../tags/tag345.xml"/><Relationship Id="rId10" Type="http://schemas.openxmlformats.org/officeDocument/2006/relationships/slideLayout" Target="../slideLayouts/slideLayout178.xml"/><Relationship Id="rId19" Type="http://schemas.openxmlformats.org/officeDocument/2006/relationships/tags" Target="../tags/tag328.xml"/><Relationship Id="rId31" Type="http://schemas.openxmlformats.org/officeDocument/2006/relationships/tags" Target="../tags/tag340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tags" Target="../tags/tag331.xml"/><Relationship Id="rId27" Type="http://schemas.openxmlformats.org/officeDocument/2006/relationships/tags" Target="../tags/tag336.xml"/><Relationship Id="rId30" Type="http://schemas.openxmlformats.org/officeDocument/2006/relationships/tags" Target="../tags/tag339.xml"/><Relationship Id="rId35" Type="http://schemas.openxmlformats.org/officeDocument/2006/relationships/tags" Target="../tags/tag3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theme" Target="../theme/theme5.xml"/><Relationship Id="rId26" Type="http://schemas.openxmlformats.org/officeDocument/2006/relationships/tags" Target="../tags/tag448.xml"/><Relationship Id="rId39" Type="http://schemas.openxmlformats.org/officeDocument/2006/relationships/tags" Target="../tags/tag461.xml"/><Relationship Id="rId3" Type="http://schemas.openxmlformats.org/officeDocument/2006/relationships/slideLayout" Target="../slideLayouts/slideLayout186.xml"/><Relationship Id="rId21" Type="http://schemas.openxmlformats.org/officeDocument/2006/relationships/tags" Target="../tags/tag443.xml"/><Relationship Id="rId34" Type="http://schemas.openxmlformats.org/officeDocument/2006/relationships/tags" Target="../tags/tag456.x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tags" Target="../tags/tag447.xml"/><Relationship Id="rId33" Type="http://schemas.openxmlformats.org/officeDocument/2006/relationships/tags" Target="../tags/tag455.xml"/><Relationship Id="rId38" Type="http://schemas.openxmlformats.org/officeDocument/2006/relationships/tags" Target="../tags/tag460.xml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tags" Target="../tags/tag442.xml"/><Relationship Id="rId29" Type="http://schemas.openxmlformats.org/officeDocument/2006/relationships/tags" Target="../tags/tag451.xml"/><Relationship Id="rId41" Type="http://schemas.openxmlformats.org/officeDocument/2006/relationships/image" Target="../media/image14.emf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24" Type="http://schemas.openxmlformats.org/officeDocument/2006/relationships/tags" Target="../tags/tag446.xml"/><Relationship Id="rId32" Type="http://schemas.openxmlformats.org/officeDocument/2006/relationships/tags" Target="../tags/tag454.xml"/><Relationship Id="rId37" Type="http://schemas.openxmlformats.org/officeDocument/2006/relationships/tags" Target="../tags/tag459.xml"/><Relationship Id="rId40" Type="http://schemas.openxmlformats.org/officeDocument/2006/relationships/oleObject" Target="../embeddings/oleObject171.bin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23" Type="http://schemas.openxmlformats.org/officeDocument/2006/relationships/tags" Target="../tags/tag445.xml"/><Relationship Id="rId28" Type="http://schemas.openxmlformats.org/officeDocument/2006/relationships/tags" Target="../tags/tag450.xml"/><Relationship Id="rId36" Type="http://schemas.openxmlformats.org/officeDocument/2006/relationships/tags" Target="../tags/tag458.xml"/><Relationship Id="rId10" Type="http://schemas.openxmlformats.org/officeDocument/2006/relationships/slideLayout" Target="../slideLayouts/slideLayout193.xml"/><Relationship Id="rId19" Type="http://schemas.openxmlformats.org/officeDocument/2006/relationships/vmlDrawing" Target="../drawings/vmlDrawing176.vml"/><Relationship Id="rId31" Type="http://schemas.openxmlformats.org/officeDocument/2006/relationships/tags" Target="../tags/tag453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tags" Target="../tags/tag444.xml"/><Relationship Id="rId27" Type="http://schemas.openxmlformats.org/officeDocument/2006/relationships/tags" Target="../tags/tag449.xml"/><Relationship Id="rId30" Type="http://schemas.openxmlformats.org/officeDocument/2006/relationships/tags" Target="../tags/tag452.xml"/><Relationship Id="rId35" Type="http://schemas.openxmlformats.org/officeDocument/2006/relationships/tags" Target="../tags/tag45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26.xml"/><Relationship Id="rId39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221.xml"/><Relationship Id="rId34" Type="http://schemas.openxmlformats.org/officeDocument/2006/relationships/slideLayout" Target="../slideLayouts/slideLayout234.xml"/><Relationship Id="rId42" Type="http://schemas.openxmlformats.org/officeDocument/2006/relationships/slideLayout" Target="../slideLayouts/slideLayout242.xml"/><Relationship Id="rId47" Type="http://schemas.openxmlformats.org/officeDocument/2006/relationships/slideLayout" Target="../slideLayouts/slideLayout247.xml"/><Relationship Id="rId50" Type="http://schemas.openxmlformats.org/officeDocument/2006/relationships/slideLayout" Target="../slideLayouts/slideLayout250.xml"/><Relationship Id="rId55" Type="http://schemas.openxmlformats.org/officeDocument/2006/relationships/slideLayout" Target="../slideLayouts/slideLayout255.xml"/><Relationship Id="rId63" Type="http://schemas.openxmlformats.org/officeDocument/2006/relationships/slideLayout" Target="../slideLayouts/slideLayout263.xml"/><Relationship Id="rId68" Type="http://schemas.openxmlformats.org/officeDocument/2006/relationships/slideLayout" Target="../slideLayouts/slideLayout268.xml"/><Relationship Id="rId76" Type="http://schemas.openxmlformats.org/officeDocument/2006/relationships/tags" Target="../tags/tag573.xml"/><Relationship Id="rId7" Type="http://schemas.openxmlformats.org/officeDocument/2006/relationships/slideLayout" Target="../slideLayouts/slideLayout207.xml"/><Relationship Id="rId71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45" Type="http://schemas.openxmlformats.org/officeDocument/2006/relationships/slideLayout" Target="../slideLayouts/slideLayout245.xml"/><Relationship Id="rId53" Type="http://schemas.openxmlformats.org/officeDocument/2006/relationships/slideLayout" Target="../slideLayouts/slideLayout253.xml"/><Relationship Id="rId58" Type="http://schemas.openxmlformats.org/officeDocument/2006/relationships/slideLayout" Target="../slideLayouts/slideLayout258.xml"/><Relationship Id="rId66" Type="http://schemas.openxmlformats.org/officeDocument/2006/relationships/slideLayout" Target="../slideLayouts/slideLayout266.xml"/><Relationship Id="rId74" Type="http://schemas.openxmlformats.org/officeDocument/2006/relationships/theme" Target="../theme/theme6.xml"/><Relationship Id="rId79" Type="http://schemas.openxmlformats.org/officeDocument/2006/relationships/image" Target="../media/image1.emf"/><Relationship Id="rId5" Type="http://schemas.openxmlformats.org/officeDocument/2006/relationships/slideLayout" Target="../slideLayouts/slideLayout205.xml"/><Relationship Id="rId61" Type="http://schemas.openxmlformats.org/officeDocument/2006/relationships/slideLayout" Target="../slideLayouts/slideLayout261.xml"/><Relationship Id="rId10" Type="http://schemas.openxmlformats.org/officeDocument/2006/relationships/slideLayout" Target="../slideLayouts/slideLayout210.xml"/><Relationship Id="rId19" Type="http://schemas.openxmlformats.org/officeDocument/2006/relationships/slideLayout" Target="../slideLayouts/slideLayout219.xml"/><Relationship Id="rId31" Type="http://schemas.openxmlformats.org/officeDocument/2006/relationships/slideLayout" Target="../slideLayouts/slideLayout231.xml"/><Relationship Id="rId44" Type="http://schemas.openxmlformats.org/officeDocument/2006/relationships/slideLayout" Target="../slideLayouts/slideLayout244.xml"/><Relationship Id="rId52" Type="http://schemas.openxmlformats.org/officeDocument/2006/relationships/slideLayout" Target="../slideLayouts/slideLayout252.xml"/><Relationship Id="rId60" Type="http://schemas.openxmlformats.org/officeDocument/2006/relationships/slideLayout" Target="../slideLayouts/slideLayout260.xml"/><Relationship Id="rId65" Type="http://schemas.openxmlformats.org/officeDocument/2006/relationships/slideLayout" Target="../slideLayouts/slideLayout265.xml"/><Relationship Id="rId73" Type="http://schemas.openxmlformats.org/officeDocument/2006/relationships/slideLayout" Target="../slideLayouts/slideLayout273.xml"/><Relationship Id="rId78" Type="http://schemas.openxmlformats.org/officeDocument/2006/relationships/oleObject" Target="../embeddings/oleObject189.bin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43" Type="http://schemas.openxmlformats.org/officeDocument/2006/relationships/slideLayout" Target="../slideLayouts/slideLayout243.xml"/><Relationship Id="rId48" Type="http://schemas.openxmlformats.org/officeDocument/2006/relationships/slideLayout" Target="../slideLayouts/slideLayout248.xml"/><Relationship Id="rId56" Type="http://schemas.openxmlformats.org/officeDocument/2006/relationships/slideLayout" Target="../slideLayouts/slideLayout256.xml"/><Relationship Id="rId64" Type="http://schemas.openxmlformats.org/officeDocument/2006/relationships/slideLayout" Target="../slideLayouts/slideLayout264.xml"/><Relationship Id="rId69" Type="http://schemas.openxmlformats.org/officeDocument/2006/relationships/slideLayout" Target="../slideLayouts/slideLayout269.xml"/><Relationship Id="rId77" Type="http://schemas.openxmlformats.org/officeDocument/2006/relationships/tags" Target="../tags/tag574.xml"/><Relationship Id="rId8" Type="http://schemas.openxmlformats.org/officeDocument/2006/relationships/slideLayout" Target="../slideLayouts/slideLayout208.xml"/><Relationship Id="rId51" Type="http://schemas.openxmlformats.org/officeDocument/2006/relationships/slideLayout" Target="../slideLayouts/slideLayout251.xml"/><Relationship Id="rId72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Relationship Id="rId46" Type="http://schemas.openxmlformats.org/officeDocument/2006/relationships/slideLayout" Target="../slideLayouts/slideLayout246.xml"/><Relationship Id="rId59" Type="http://schemas.openxmlformats.org/officeDocument/2006/relationships/slideLayout" Target="../slideLayouts/slideLayout259.xml"/><Relationship Id="rId67" Type="http://schemas.openxmlformats.org/officeDocument/2006/relationships/slideLayout" Target="../slideLayouts/slideLayout267.xml"/><Relationship Id="rId20" Type="http://schemas.openxmlformats.org/officeDocument/2006/relationships/slideLayout" Target="../slideLayouts/slideLayout220.xml"/><Relationship Id="rId41" Type="http://schemas.openxmlformats.org/officeDocument/2006/relationships/slideLayout" Target="../slideLayouts/slideLayout241.xml"/><Relationship Id="rId54" Type="http://schemas.openxmlformats.org/officeDocument/2006/relationships/slideLayout" Target="../slideLayouts/slideLayout254.xml"/><Relationship Id="rId62" Type="http://schemas.openxmlformats.org/officeDocument/2006/relationships/slideLayout" Target="../slideLayouts/slideLayout262.xml"/><Relationship Id="rId70" Type="http://schemas.openxmlformats.org/officeDocument/2006/relationships/slideLayout" Target="../slideLayouts/slideLayout270.xml"/><Relationship Id="rId75" Type="http://schemas.openxmlformats.org/officeDocument/2006/relationships/vmlDrawing" Target="../drawings/vmlDrawing194.v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49" Type="http://schemas.openxmlformats.org/officeDocument/2006/relationships/slideLayout" Target="../slideLayouts/slideLayout249.xml"/><Relationship Id="rId57" Type="http://schemas.openxmlformats.org/officeDocument/2006/relationships/slideLayout" Target="../slideLayouts/slideLayout25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6.xml"/><Relationship Id="rId18" Type="http://schemas.openxmlformats.org/officeDocument/2006/relationships/slideLayout" Target="../slideLayouts/slideLayout291.xml"/><Relationship Id="rId26" Type="http://schemas.openxmlformats.org/officeDocument/2006/relationships/slideLayout" Target="../slideLayouts/slideLayout299.xml"/><Relationship Id="rId39" Type="http://schemas.openxmlformats.org/officeDocument/2006/relationships/slideLayout" Target="../slideLayouts/slideLayout312.xml"/><Relationship Id="rId21" Type="http://schemas.openxmlformats.org/officeDocument/2006/relationships/slideLayout" Target="../slideLayouts/slideLayout294.xml"/><Relationship Id="rId34" Type="http://schemas.openxmlformats.org/officeDocument/2006/relationships/slideLayout" Target="../slideLayouts/slideLayout307.xml"/><Relationship Id="rId42" Type="http://schemas.openxmlformats.org/officeDocument/2006/relationships/slideLayout" Target="../slideLayouts/slideLayout315.xml"/><Relationship Id="rId47" Type="http://schemas.openxmlformats.org/officeDocument/2006/relationships/slideLayout" Target="../slideLayouts/slideLayout320.xml"/><Relationship Id="rId50" Type="http://schemas.openxmlformats.org/officeDocument/2006/relationships/slideLayout" Target="../slideLayouts/slideLayout323.xml"/><Relationship Id="rId55" Type="http://schemas.openxmlformats.org/officeDocument/2006/relationships/slideLayout" Target="../slideLayouts/slideLayout328.xml"/><Relationship Id="rId63" Type="http://schemas.openxmlformats.org/officeDocument/2006/relationships/slideLayout" Target="../slideLayouts/slideLayout336.xml"/><Relationship Id="rId68" Type="http://schemas.openxmlformats.org/officeDocument/2006/relationships/slideLayout" Target="../slideLayouts/slideLayout341.xml"/><Relationship Id="rId76" Type="http://schemas.openxmlformats.org/officeDocument/2006/relationships/tags" Target="../tags/tag700.xml"/><Relationship Id="rId7" Type="http://schemas.openxmlformats.org/officeDocument/2006/relationships/slideLayout" Target="../slideLayouts/slideLayout280.xml"/><Relationship Id="rId71" Type="http://schemas.openxmlformats.org/officeDocument/2006/relationships/slideLayout" Target="../slideLayouts/slideLayout344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29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284.xml"/><Relationship Id="rId24" Type="http://schemas.openxmlformats.org/officeDocument/2006/relationships/slideLayout" Target="../slideLayouts/slideLayout297.xml"/><Relationship Id="rId32" Type="http://schemas.openxmlformats.org/officeDocument/2006/relationships/slideLayout" Target="../slideLayouts/slideLayout305.xml"/><Relationship Id="rId37" Type="http://schemas.openxmlformats.org/officeDocument/2006/relationships/slideLayout" Target="../slideLayouts/slideLayout310.xml"/><Relationship Id="rId40" Type="http://schemas.openxmlformats.org/officeDocument/2006/relationships/slideLayout" Target="../slideLayouts/slideLayout313.xml"/><Relationship Id="rId45" Type="http://schemas.openxmlformats.org/officeDocument/2006/relationships/slideLayout" Target="../slideLayouts/slideLayout318.xml"/><Relationship Id="rId53" Type="http://schemas.openxmlformats.org/officeDocument/2006/relationships/slideLayout" Target="../slideLayouts/slideLayout326.xml"/><Relationship Id="rId58" Type="http://schemas.openxmlformats.org/officeDocument/2006/relationships/slideLayout" Target="../slideLayouts/slideLayout331.xml"/><Relationship Id="rId66" Type="http://schemas.openxmlformats.org/officeDocument/2006/relationships/slideLayout" Target="../slideLayouts/slideLayout339.xml"/><Relationship Id="rId74" Type="http://schemas.openxmlformats.org/officeDocument/2006/relationships/theme" Target="../theme/theme7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23" Type="http://schemas.openxmlformats.org/officeDocument/2006/relationships/slideLayout" Target="../slideLayouts/slideLayout296.xml"/><Relationship Id="rId28" Type="http://schemas.openxmlformats.org/officeDocument/2006/relationships/slideLayout" Target="../slideLayouts/slideLayout301.xml"/><Relationship Id="rId36" Type="http://schemas.openxmlformats.org/officeDocument/2006/relationships/slideLayout" Target="../slideLayouts/slideLayout309.xml"/><Relationship Id="rId49" Type="http://schemas.openxmlformats.org/officeDocument/2006/relationships/slideLayout" Target="../slideLayouts/slideLayout322.xml"/><Relationship Id="rId57" Type="http://schemas.openxmlformats.org/officeDocument/2006/relationships/slideLayout" Target="../slideLayouts/slideLayout330.xml"/><Relationship Id="rId61" Type="http://schemas.openxmlformats.org/officeDocument/2006/relationships/slideLayout" Target="../slideLayouts/slideLayout334.xml"/><Relationship Id="rId10" Type="http://schemas.openxmlformats.org/officeDocument/2006/relationships/slideLayout" Target="../slideLayouts/slideLayout283.xml"/><Relationship Id="rId19" Type="http://schemas.openxmlformats.org/officeDocument/2006/relationships/slideLayout" Target="../slideLayouts/slideLayout292.xml"/><Relationship Id="rId31" Type="http://schemas.openxmlformats.org/officeDocument/2006/relationships/slideLayout" Target="../slideLayouts/slideLayout304.xml"/><Relationship Id="rId44" Type="http://schemas.openxmlformats.org/officeDocument/2006/relationships/slideLayout" Target="../slideLayouts/slideLayout317.xml"/><Relationship Id="rId52" Type="http://schemas.openxmlformats.org/officeDocument/2006/relationships/slideLayout" Target="../slideLayouts/slideLayout325.xml"/><Relationship Id="rId60" Type="http://schemas.openxmlformats.org/officeDocument/2006/relationships/slideLayout" Target="../slideLayouts/slideLayout333.xml"/><Relationship Id="rId65" Type="http://schemas.openxmlformats.org/officeDocument/2006/relationships/slideLayout" Target="../slideLayouts/slideLayout338.xml"/><Relationship Id="rId73" Type="http://schemas.openxmlformats.org/officeDocument/2006/relationships/slideLayout" Target="../slideLayouts/slideLayout346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Relationship Id="rId22" Type="http://schemas.openxmlformats.org/officeDocument/2006/relationships/slideLayout" Target="../slideLayouts/slideLayout295.xml"/><Relationship Id="rId27" Type="http://schemas.openxmlformats.org/officeDocument/2006/relationships/slideLayout" Target="../slideLayouts/slideLayout300.xml"/><Relationship Id="rId30" Type="http://schemas.openxmlformats.org/officeDocument/2006/relationships/slideLayout" Target="../slideLayouts/slideLayout303.xml"/><Relationship Id="rId35" Type="http://schemas.openxmlformats.org/officeDocument/2006/relationships/slideLayout" Target="../slideLayouts/slideLayout308.xml"/><Relationship Id="rId43" Type="http://schemas.openxmlformats.org/officeDocument/2006/relationships/slideLayout" Target="../slideLayouts/slideLayout316.xml"/><Relationship Id="rId48" Type="http://schemas.openxmlformats.org/officeDocument/2006/relationships/slideLayout" Target="../slideLayouts/slideLayout321.xml"/><Relationship Id="rId56" Type="http://schemas.openxmlformats.org/officeDocument/2006/relationships/slideLayout" Target="../slideLayouts/slideLayout329.xml"/><Relationship Id="rId64" Type="http://schemas.openxmlformats.org/officeDocument/2006/relationships/slideLayout" Target="../slideLayouts/slideLayout337.xml"/><Relationship Id="rId69" Type="http://schemas.openxmlformats.org/officeDocument/2006/relationships/slideLayout" Target="../slideLayouts/slideLayout342.xml"/><Relationship Id="rId77" Type="http://schemas.openxmlformats.org/officeDocument/2006/relationships/oleObject" Target="../embeddings/oleObject259.bin"/><Relationship Id="rId8" Type="http://schemas.openxmlformats.org/officeDocument/2006/relationships/slideLayout" Target="../slideLayouts/slideLayout281.xml"/><Relationship Id="rId51" Type="http://schemas.openxmlformats.org/officeDocument/2006/relationships/slideLayout" Target="../slideLayouts/slideLayout324.xml"/><Relationship Id="rId72" Type="http://schemas.openxmlformats.org/officeDocument/2006/relationships/slideLayout" Target="../slideLayouts/slideLayout345.xml"/><Relationship Id="rId3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290.xml"/><Relationship Id="rId25" Type="http://schemas.openxmlformats.org/officeDocument/2006/relationships/slideLayout" Target="../slideLayouts/slideLayout298.xml"/><Relationship Id="rId33" Type="http://schemas.openxmlformats.org/officeDocument/2006/relationships/slideLayout" Target="../slideLayouts/slideLayout306.xml"/><Relationship Id="rId38" Type="http://schemas.openxmlformats.org/officeDocument/2006/relationships/slideLayout" Target="../slideLayouts/slideLayout311.xml"/><Relationship Id="rId46" Type="http://schemas.openxmlformats.org/officeDocument/2006/relationships/slideLayout" Target="../slideLayouts/slideLayout319.xml"/><Relationship Id="rId59" Type="http://schemas.openxmlformats.org/officeDocument/2006/relationships/slideLayout" Target="../slideLayouts/slideLayout332.xml"/><Relationship Id="rId67" Type="http://schemas.openxmlformats.org/officeDocument/2006/relationships/slideLayout" Target="../slideLayouts/slideLayout340.xml"/><Relationship Id="rId20" Type="http://schemas.openxmlformats.org/officeDocument/2006/relationships/slideLayout" Target="../slideLayouts/slideLayout293.xml"/><Relationship Id="rId41" Type="http://schemas.openxmlformats.org/officeDocument/2006/relationships/slideLayout" Target="../slideLayouts/slideLayout314.xml"/><Relationship Id="rId54" Type="http://schemas.openxmlformats.org/officeDocument/2006/relationships/slideLayout" Target="../slideLayouts/slideLayout327.xml"/><Relationship Id="rId62" Type="http://schemas.openxmlformats.org/officeDocument/2006/relationships/slideLayout" Target="../slideLayouts/slideLayout335.xml"/><Relationship Id="rId70" Type="http://schemas.openxmlformats.org/officeDocument/2006/relationships/slideLayout" Target="../slideLayouts/slideLayout343.xml"/><Relationship Id="rId75" Type="http://schemas.openxmlformats.org/officeDocument/2006/relationships/vmlDrawing" Target="../drawings/vmlDrawing265.v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78" imgW="270" imgH="270" progId="TCLayout.ActiveDocument.1">
                  <p:embed/>
                </p:oleObj>
              </mc:Choice>
              <mc:Fallback>
                <p:oleObj name="think-cell Slide" r:id="rId7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9A12B8-10C7-411D-84FE-CED8EF4FFC27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B6FEAE-09FE-4013-84D9-FB0415AC3243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456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4084" r:id="rId69"/>
    <p:sldLayoutId id="2147484085" r:id="rId70"/>
    <p:sldLayoutId id="2147484086" r:id="rId71"/>
    <p:sldLayoutId id="2147484087" r:id="rId72"/>
    <p:sldLayoutId id="2147484088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44C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6"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4736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172212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983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4726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DC259CA-4716-4157-A757-D227D00603CA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345901C-E7E4-4539-8C77-F830B53AA84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E44A925E-96C0-4F71-A883-313D6660EB7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B85891A7-5E1E-4801-9339-795682FE7E8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07B3ED06-3EDD-478F-ACA9-DE46C9C3AD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5AEFF97-594E-4024-888A-D61E06C1F5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CAEA3AA-9C63-4290-A6AE-42DD612765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26938C9-655C-486E-831B-4130E842F36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083B1432-5E5E-4B24-BBA3-2471010E6AB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151E954-399D-47D3-8515-2CB5792AAF0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CE1405-788D-4C9C-B140-9182159C1FA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16FD492F-6385-407E-86E5-05CE30F53E7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3ED9B5B-8D71-45F7-B39B-E809FD43BFC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04910D4-9BB9-43A0-A4F3-4C4BDE05113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3346077-B012-4AB5-9F8F-7F5D2EB1BF0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95D6D2B4-C3F0-4CF8-92F2-689AB2EF63FC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DE30A8EB-96AA-4D89-95E3-02125C8BF10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9DBF3BA-4889-412D-8E78-5257863D6C1E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64F4FA7-0148-4CF8-9526-FE1B3804B4B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786C13DE-BCE8-46DA-8062-329AEDCBA1A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D5A01BB-CCDB-4C1E-BED8-7CFF43E160F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40867BC-5932-45C2-81D8-AFA8C15F8C4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1777C78-8FA0-4255-8FC5-17BCA6EAB129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69C0F2BA-079B-4460-9017-F377D5BB5D7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A5D0632-0AFC-4E4F-A182-F7360BE0451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57EE480D-DBA8-4D30-85C7-26F271650FE8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6F8348C-4120-4BB6-B892-F6EF3306B4C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401E4A0-9512-4F9E-8DC2-B810A068EF6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51D346A6-3306-4A7E-98F7-D43B0D4C3D0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CE9AA8FE-CA3A-411F-A1F6-EB2A44482C9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142BDBE4-5309-4E4E-AC5D-7FB55F446E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0B3D2BE7-7FBC-4F7B-B039-48CA25994C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6EFD21B-E71A-4602-85F3-AF0C86134AD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1A262DD-E725-47B5-AB74-63C98392D9EF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A7D76D51-2696-4986-9A1F-BEB44EC7E0C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25D2984D-4324-4B47-99A3-1D6A4F6471F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88C29D57-BD34-4D1B-8266-1320F11E831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2C0D710-8D27-4F6E-AFC6-4B662FD1CE59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0641FB6C-A43B-4B18-8842-C4CF3FBA714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148" name="Oval 147">
            <a:extLst>
              <a:ext uri="{FF2B5EF4-FFF2-40B4-BE49-F238E27FC236}">
                <a16:creationId xmlns:a16="http://schemas.microsoft.com/office/drawing/2014/main" id="{799877C9-63ED-40E9-89FB-6CC9BB3B26C7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50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50" r:id="rId16"/>
    <p:sldLayoutId id="2147483751" r:id="rId17"/>
    <p:sldLayoutId id="2147484028" r:id="rId18"/>
    <p:sldLayoutId id="2147484029" r:id="rId19"/>
    <p:sldLayoutId id="2147484076" r:id="rId20"/>
    <p:sldLayoutId id="2147484077" r:id="rId21"/>
    <p:sldLayoutId id="2147484078" r:id="rId22"/>
    <p:sldLayoutId id="2147484079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47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606B3-3C6C-4C57-92AD-F65DF0E1162B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162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  <p:sldLayoutId id="2147483781" r:id="rId29"/>
    <p:sldLayoutId id="2147483782" r:id="rId30"/>
    <p:sldLayoutId id="2147483783" r:id="rId31"/>
    <p:sldLayoutId id="2147483784" r:id="rId32"/>
    <p:sldLayoutId id="2147483785" r:id="rId33"/>
    <p:sldLayoutId id="2147483786" r:id="rId34"/>
    <p:sldLayoutId id="2147483787" r:id="rId35"/>
    <p:sldLayoutId id="2147483788" r:id="rId36"/>
    <p:sldLayoutId id="2147483789" r:id="rId37"/>
    <p:sldLayoutId id="2147483790" r:id="rId38"/>
    <p:sldLayoutId id="2147483791" r:id="rId39"/>
    <p:sldLayoutId id="2147483792" r:id="rId40"/>
    <p:sldLayoutId id="2147483793" r:id="rId41"/>
    <p:sldLayoutId id="2147483794" r:id="rId42"/>
    <p:sldLayoutId id="2147483795" r:id="rId43"/>
    <p:sldLayoutId id="2147483796" r:id="rId44"/>
    <p:sldLayoutId id="2147483797" r:id="rId45"/>
    <p:sldLayoutId id="2147483798" r:id="rId46"/>
    <p:sldLayoutId id="2147483799" r:id="rId47"/>
    <p:sldLayoutId id="2147483800" r:id="rId48"/>
    <p:sldLayoutId id="2147483801" r:id="rId49"/>
    <p:sldLayoutId id="2147483802" r:id="rId50"/>
    <p:sldLayoutId id="2147483803" r:id="rId51"/>
    <p:sldLayoutId id="2147483804" r:id="rId52"/>
    <p:sldLayoutId id="2147483805" r:id="rId53"/>
    <p:sldLayoutId id="2147483806" r:id="rId54"/>
    <p:sldLayoutId id="2147483807" r:id="rId55"/>
    <p:sldLayoutId id="2147483808" r:id="rId56"/>
    <p:sldLayoutId id="2147483809" r:id="rId57"/>
    <p:sldLayoutId id="2147483810" r:id="rId58"/>
    <p:sldLayoutId id="2147483811" r:id="rId59"/>
    <p:sldLayoutId id="2147483812" r:id="rId60"/>
    <p:sldLayoutId id="2147483813" r:id="rId61"/>
    <p:sldLayoutId id="2147483814" r:id="rId62"/>
    <p:sldLayoutId id="2147483815" r:id="rId63"/>
    <p:sldLayoutId id="2147483816" r:id="rId64"/>
    <p:sldLayoutId id="2147483817" r:id="rId65"/>
    <p:sldLayoutId id="2147483818" r:id="rId66"/>
    <p:sldLayoutId id="2147483819" r:id="rId67"/>
    <p:sldLayoutId id="2147483821" r:id="rId68"/>
    <p:sldLayoutId id="2147484075" r:id="rId69"/>
    <p:sldLayoutId id="2147484081" r:id="rId70"/>
    <p:sldLayoutId id="2147484082" r:id="rId71"/>
    <p:sldLayoutId id="2147484083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44C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3" name="think-cell Slide" r:id="rId39" imgW="592" imgH="591" progId="TCLayout.ActiveDocument.1">
                  <p:embed/>
                </p:oleObj>
              </mc:Choice>
              <mc:Fallback>
                <p:oleObj name="think-cell Slide" r:id="rId3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F23FB4EB-9D79-4D5E-BB1D-0A3A2DC81B52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4736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91983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47264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5A68890D-B32C-43CB-AEA6-6A1334FFFE84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680871CC-FDC5-4244-86F4-51621513A797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A474F245-5833-4657-82CF-1B54CD2564BB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9BF4A49A-507A-46CA-9364-7E0376E0BBDF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FC0D7385-FF73-4C7B-BF43-5D7DA222EC60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C27085E-6964-4799-BC87-415EDC916D0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29B686F1-5E73-40BC-BF77-D59F5435860B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0B520603-C143-413E-8EC3-1E76A36BD636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1BE05781-1555-444F-AE0C-08D932C14AE0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4BC537D3-D392-475E-B755-6588A856A2BF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78CAB21E-B857-4C75-B1D5-E6536BB4145B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E40D3B23-E52A-406E-8539-94F11936194D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03E255AE-1712-46CC-A762-45B0A0C900F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A826527A-1E09-4911-B9CD-55DEB9E1A720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8F62542C-5E11-41B1-957C-4122A5B8E03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83B9F209-ADC1-41E6-AF2C-EDB26B49FE8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A6CF4DF7-C643-4404-B072-184EAA0FB6E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D3503C17-36D9-4917-B71C-2B7B77481ED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691A597A-D3CD-4357-8E61-5323B6BF03F0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F683AC8-EA3E-4FEA-83F0-765565006057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A081CA1C-6672-42DE-B36C-57991C62613E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DBAB5477-DBD5-40A0-AF36-D0B105C56C8C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794ABEC6-935E-479D-A8DD-AD19A4AD9F86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EB7F3380-B155-4E7A-B031-F4399A4DD8DA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20042068-1A20-4FB1-929B-7C48BB23CDE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9BD11F36-E53F-426D-A428-ACF344B9768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20BAF30B-4F49-4B4C-93ED-A22C873CD0A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78341A57-ED1F-490E-B142-B2C763D2D9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188F9C32-1BE2-4ADF-9E35-28A6FEA8035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700D3B26-82C5-4EF0-A6FC-361918738F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889BB8CD-9F66-41ED-854A-A0534CA6592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E1FD1803-CA22-4056-85F8-135E72743E9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D7600B79-405E-4D04-8CE3-558CF466D15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DA3438F0-380B-467B-9518-F958928DB37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672AEF0-A544-4647-B9B5-62F2B6B559C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6E26F6E1-8510-4D84-9AC7-03969C660C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F8784DED-5D41-46FF-80F2-B7DF376229A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0F09B7AC-7FB6-4ADD-98C2-A1A5E939065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96196B63-1BDD-43B5-98B2-D783099C14E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4508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87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4736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983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4726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DC259CA-4716-4157-A757-D227D00603CA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345901C-E7E4-4539-8C77-F830B53AA84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E44A925E-96C0-4F71-A883-313D6660EB7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B85891A7-5E1E-4801-9339-795682FE7E8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07B3ED06-3EDD-478F-ACA9-DE46C9C3AD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5AEFF97-594E-4024-888A-D61E06C1F5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CAEA3AA-9C63-4290-A6AE-42DD612765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26938C9-655C-486E-831B-4130E842F36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083B1432-5E5E-4B24-BBA3-2471010E6AB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151E954-399D-47D3-8515-2CB5792AAF0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CE1405-788D-4C9C-B140-9182159C1FA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16FD492F-6385-407E-86E5-05CE30F53E7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3ED9B5B-8D71-45F7-B39B-E809FD43BFC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04910D4-9BB9-43A0-A4F3-4C4BDE05113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3346077-B012-4AB5-9F8F-7F5D2EB1BF0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95D6D2B4-C3F0-4CF8-92F2-689AB2EF63FC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DE30A8EB-96AA-4D89-95E3-02125C8BF10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9DBF3BA-4889-412D-8E78-5257863D6C1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64F4FA7-0148-4CF8-9526-FE1B3804B4B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786C13DE-BCE8-46DA-8062-329AEDCBA1A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D5A01BB-CCDB-4C1E-BED8-7CFF43E160F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40867BC-5932-45C2-81D8-AFA8C15F8C4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1777C78-8FA0-4255-8FC5-17BCA6EAB12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69C0F2BA-079B-4460-9017-F377D5BB5D7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A5D0632-0AFC-4E4F-A182-F7360BE0451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57EE480D-DBA8-4D30-85C7-26F271650FE8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6F8348C-4120-4BB6-B892-F6EF3306B4C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401E4A0-9512-4F9E-8DC2-B810A068EF6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51D346A6-3306-4A7E-98F7-D43B0D4C3D0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CE9AA8FE-CA3A-411F-A1F6-EB2A44482C9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142BDBE4-5309-4E4E-AC5D-7FB55F446E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0B3D2BE7-7FBC-4F7B-B039-48CA25994C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6EFD21B-E71A-4602-85F3-AF0C86134AD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1A262DD-E725-47B5-AB74-63C98392D9EF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A7D76D51-2696-4986-9A1F-BEB44EC7E0C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25D2984D-4324-4B47-99A3-1D6A4F6471F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88C29D57-BD34-4D1B-8266-1320F11E831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2C0D710-8D27-4F6E-AFC6-4B662FD1CE59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0641FB6C-A43B-4B18-8842-C4CF3FBA714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148" name="Oval 147">
            <a:extLst>
              <a:ext uri="{FF2B5EF4-FFF2-40B4-BE49-F238E27FC236}">
                <a16:creationId xmlns:a16="http://schemas.microsoft.com/office/drawing/2014/main" id="{799877C9-63ED-40E9-89FB-6CC9BB3B26C7}"/>
              </a:ext>
            </a:extLst>
          </p:cNvPr>
          <p:cNvSpPr/>
          <p:nvPr userDrawn="1"/>
        </p:nvSpPr>
        <p:spPr>
          <a:xfrm>
            <a:off x="11541436" y="6348749"/>
            <a:ext cx="417306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0" i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3CA2A949-D0BC-4EFC-AE43-C05555041C2A}"/>
              </a:ext>
            </a:extLst>
          </p:cNvPr>
          <p:cNvSpPr txBox="1"/>
          <p:nvPr userDrawn="1"/>
        </p:nvSpPr>
        <p:spPr>
          <a:xfrm>
            <a:off x="10281196" y="6615212"/>
            <a:ext cx="1256754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/>
                </a:solidFill>
              </a:rPr>
              <a:t>McKinsey &amp; Company</a:t>
            </a:r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357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05" name="think-cell Slide" r:id="rId78" imgW="270" imgH="270" progId="TCLayout.ActiveDocument.1">
                  <p:embed/>
                </p:oleObj>
              </mc:Choice>
              <mc:Fallback>
                <p:oleObj name="think-cell Slide" r:id="rId7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9A12B8-10C7-411D-84FE-CED8EF4FFC27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B6FEAE-09FE-4013-84D9-FB0415AC3243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30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  <p:sldLayoutId id="2147483902" r:id="rId25"/>
    <p:sldLayoutId id="2147483903" r:id="rId26"/>
    <p:sldLayoutId id="2147483904" r:id="rId27"/>
    <p:sldLayoutId id="2147483905" r:id="rId28"/>
    <p:sldLayoutId id="2147483906" r:id="rId29"/>
    <p:sldLayoutId id="2147483907" r:id="rId30"/>
    <p:sldLayoutId id="2147483908" r:id="rId31"/>
    <p:sldLayoutId id="2147483909" r:id="rId32"/>
    <p:sldLayoutId id="2147483910" r:id="rId33"/>
    <p:sldLayoutId id="2147483911" r:id="rId34"/>
    <p:sldLayoutId id="2147483912" r:id="rId35"/>
    <p:sldLayoutId id="2147483913" r:id="rId36"/>
    <p:sldLayoutId id="2147483914" r:id="rId37"/>
    <p:sldLayoutId id="2147483915" r:id="rId38"/>
    <p:sldLayoutId id="2147483916" r:id="rId39"/>
    <p:sldLayoutId id="2147483917" r:id="rId40"/>
    <p:sldLayoutId id="2147483918" r:id="rId41"/>
    <p:sldLayoutId id="2147483919" r:id="rId42"/>
    <p:sldLayoutId id="2147483920" r:id="rId43"/>
    <p:sldLayoutId id="2147483921" r:id="rId44"/>
    <p:sldLayoutId id="2147483922" r:id="rId45"/>
    <p:sldLayoutId id="2147483923" r:id="rId46"/>
    <p:sldLayoutId id="2147483924" r:id="rId47"/>
    <p:sldLayoutId id="2147483925" r:id="rId48"/>
    <p:sldLayoutId id="2147483926" r:id="rId49"/>
    <p:sldLayoutId id="2147483927" r:id="rId50"/>
    <p:sldLayoutId id="2147483928" r:id="rId51"/>
    <p:sldLayoutId id="2147483929" r:id="rId52"/>
    <p:sldLayoutId id="2147483930" r:id="rId53"/>
    <p:sldLayoutId id="2147483931" r:id="rId54"/>
    <p:sldLayoutId id="2147483932" r:id="rId55"/>
    <p:sldLayoutId id="2147483933" r:id="rId56"/>
    <p:sldLayoutId id="2147483934" r:id="rId57"/>
    <p:sldLayoutId id="2147483935" r:id="rId58"/>
    <p:sldLayoutId id="2147483936" r:id="rId59"/>
    <p:sldLayoutId id="2147483937" r:id="rId60"/>
    <p:sldLayoutId id="2147483938" r:id="rId61"/>
    <p:sldLayoutId id="2147483939" r:id="rId62"/>
    <p:sldLayoutId id="2147483940" r:id="rId63"/>
    <p:sldLayoutId id="2147483941" r:id="rId64"/>
    <p:sldLayoutId id="2147483942" r:id="rId65"/>
    <p:sldLayoutId id="2147483943" r:id="rId66"/>
    <p:sldLayoutId id="2147483944" r:id="rId67"/>
    <p:sldLayoutId id="2147483945" r:id="rId68"/>
    <p:sldLayoutId id="2147484021" r:id="rId69"/>
    <p:sldLayoutId id="2147484020" r:id="rId70"/>
    <p:sldLayoutId id="2147484089" r:id="rId71"/>
    <p:sldLayoutId id="2147484091" r:id="rId72"/>
    <p:sldLayoutId id="2147484097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44C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58"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606B3-3C6C-4C57-92AD-F65DF0E1162B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63183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  <p:sldLayoutId id="2147483975" r:id="rId25"/>
    <p:sldLayoutId id="2147483976" r:id="rId26"/>
    <p:sldLayoutId id="2147483977" r:id="rId27"/>
    <p:sldLayoutId id="2147483978" r:id="rId28"/>
    <p:sldLayoutId id="2147483979" r:id="rId29"/>
    <p:sldLayoutId id="2147483980" r:id="rId30"/>
    <p:sldLayoutId id="2147483981" r:id="rId31"/>
    <p:sldLayoutId id="2147483982" r:id="rId32"/>
    <p:sldLayoutId id="2147483983" r:id="rId33"/>
    <p:sldLayoutId id="2147483984" r:id="rId34"/>
    <p:sldLayoutId id="2147483985" r:id="rId35"/>
    <p:sldLayoutId id="2147483986" r:id="rId36"/>
    <p:sldLayoutId id="2147483987" r:id="rId37"/>
    <p:sldLayoutId id="2147483988" r:id="rId38"/>
    <p:sldLayoutId id="2147483989" r:id="rId39"/>
    <p:sldLayoutId id="2147483990" r:id="rId40"/>
    <p:sldLayoutId id="2147483991" r:id="rId41"/>
    <p:sldLayoutId id="2147483992" r:id="rId42"/>
    <p:sldLayoutId id="2147483993" r:id="rId43"/>
    <p:sldLayoutId id="2147483994" r:id="rId44"/>
    <p:sldLayoutId id="2147483995" r:id="rId45"/>
    <p:sldLayoutId id="2147483996" r:id="rId46"/>
    <p:sldLayoutId id="2147483997" r:id="rId47"/>
    <p:sldLayoutId id="2147483998" r:id="rId48"/>
    <p:sldLayoutId id="2147483999" r:id="rId49"/>
    <p:sldLayoutId id="2147484000" r:id="rId50"/>
    <p:sldLayoutId id="2147484001" r:id="rId51"/>
    <p:sldLayoutId id="2147484002" r:id="rId52"/>
    <p:sldLayoutId id="2147484003" r:id="rId53"/>
    <p:sldLayoutId id="2147484004" r:id="rId54"/>
    <p:sldLayoutId id="2147484005" r:id="rId55"/>
    <p:sldLayoutId id="2147484006" r:id="rId56"/>
    <p:sldLayoutId id="2147484007" r:id="rId57"/>
    <p:sldLayoutId id="2147484008" r:id="rId58"/>
    <p:sldLayoutId id="2147484009" r:id="rId59"/>
    <p:sldLayoutId id="2147484010" r:id="rId60"/>
    <p:sldLayoutId id="2147484011" r:id="rId61"/>
    <p:sldLayoutId id="2147484012" r:id="rId62"/>
    <p:sldLayoutId id="2147484013" r:id="rId63"/>
    <p:sldLayoutId id="2147484014" r:id="rId64"/>
    <p:sldLayoutId id="2147484015" r:id="rId65"/>
    <p:sldLayoutId id="2147484016" r:id="rId66"/>
    <p:sldLayoutId id="2147484017" r:id="rId67"/>
    <p:sldLayoutId id="2147484018" r:id="rId68"/>
    <p:sldLayoutId id="2147484019" r:id="rId69"/>
    <p:sldLayoutId id="2147484093" r:id="rId70"/>
    <p:sldLayoutId id="2147484094" r:id="rId71"/>
    <p:sldLayoutId id="2147484095" r:id="rId72"/>
    <p:sldLayoutId id="2147484096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44C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9.xml"/><Relationship Id="rId4" Type="http://schemas.openxmlformats.org/officeDocument/2006/relationships/image" Target="../media/image2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7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" Type="http://schemas.openxmlformats.org/officeDocument/2006/relationships/tags" Target="../tags/tag778.xml"/><Relationship Id="rId7" Type="http://schemas.openxmlformats.org/officeDocument/2006/relationships/image" Target="../media/image13.emf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tags" Target="../tags/tag777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1" Type="http://schemas.openxmlformats.org/officeDocument/2006/relationships/vmlDrawing" Target="../drawings/vmlDrawing334.vml"/><Relationship Id="rId6" Type="http://schemas.openxmlformats.org/officeDocument/2006/relationships/oleObject" Target="../embeddings/oleObject328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slideLayout" Target="../slideLayouts/slideLayout255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80.xml"/><Relationship Id="rId2" Type="http://schemas.openxmlformats.org/officeDocument/2006/relationships/tags" Target="../tags/tag779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329.bin"/><Relationship Id="rId4" Type="http://schemas.openxmlformats.org/officeDocument/2006/relationships/slideLayout" Target="../slideLayouts/slideLayout20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87.xml"/><Relationship Id="rId13" Type="http://schemas.openxmlformats.org/officeDocument/2006/relationships/slideLayout" Target="../slideLayouts/slideLayout273.xml"/><Relationship Id="rId3" Type="http://schemas.openxmlformats.org/officeDocument/2006/relationships/tags" Target="../tags/tag782.xml"/><Relationship Id="rId7" Type="http://schemas.openxmlformats.org/officeDocument/2006/relationships/tags" Target="../tags/tag786.xml"/><Relationship Id="rId12" Type="http://schemas.openxmlformats.org/officeDocument/2006/relationships/tags" Target="../tags/tag791.xml"/><Relationship Id="rId2" Type="http://schemas.openxmlformats.org/officeDocument/2006/relationships/tags" Target="../tags/tag781.xml"/><Relationship Id="rId16" Type="http://schemas.openxmlformats.org/officeDocument/2006/relationships/image" Target="../media/image41.emf"/><Relationship Id="rId1" Type="http://schemas.openxmlformats.org/officeDocument/2006/relationships/vmlDrawing" Target="../drawings/vmlDrawing336.vml"/><Relationship Id="rId6" Type="http://schemas.openxmlformats.org/officeDocument/2006/relationships/tags" Target="../tags/tag785.xml"/><Relationship Id="rId11" Type="http://schemas.openxmlformats.org/officeDocument/2006/relationships/tags" Target="../tags/tag790.xml"/><Relationship Id="rId5" Type="http://schemas.openxmlformats.org/officeDocument/2006/relationships/tags" Target="../tags/tag784.xml"/><Relationship Id="rId15" Type="http://schemas.openxmlformats.org/officeDocument/2006/relationships/oleObject" Target="../embeddings/oleObject330.bin"/><Relationship Id="rId10" Type="http://schemas.openxmlformats.org/officeDocument/2006/relationships/tags" Target="../tags/tag789.xml"/><Relationship Id="rId4" Type="http://schemas.openxmlformats.org/officeDocument/2006/relationships/tags" Target="../tags/tag783.xml"/><Relationship Id="rId9" Type="http://schemas.openxmlformats.org/officeDocument/2006/relationships/tags" Target="../tags/tag788.xml"/><Relationship Id="rId1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tags" Target="../tags/tag793.xml"/><Relationship Id="rId7" Type="http://schemas.openxmlformats.org/officeDocument/2006/relationships/oleObject" Target="../embeddings/oleObject331.bin"/><Relationship Id="rId2" Type="http://schemas.openxmlformats.org/officeDocument/2006/relationships/tags" Target="../tags/tag792.xml"/><Relationship Id="rId1" Type="http://schemas.openxmlformats.org/officeDocument/2006/relationships/vmlDrawing" Target="../drawings/vmlDrawing337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73.xml"/><Relationship Id="rId4" Type="http://schemas.openxmlformats.org/officeDocument/2006/relationships/tags" Target="../tags/tag7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avi.org/news/media-room/92-low-middle-income-economies-eligible-access-covid-19-vaccines-gavi-covax-amc" TargetMode="External"/><Relationship Id="rId1" Type="http://schemas.openxmlformats.org/officeDocument/2006/relationships/slideLayout" Target="../slideLayouts/slideLayout20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93;p1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-5870" y="0"/>
            <a:ext cx="12191996" cy="6858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Google Shape;194;p19"/>
          <p:cNvSpPr txBox="1">
            <a:spLocks noGrp="1"/>
          </p:cNvSpPr>
          <p:nvPr>
            <p:ph type="ctrTitle" idx="4294967295"/>
          </p:nvPr>
        </p:nvSpPr>
        <p:spPr>
          <a:xfrm>
            <a:off x="0" y="2214563"/>
            <a:ext cx="4095750" cy="2419350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4" tIns="0" rIns="359999" bIns="0" anchor="b" anchorCtr="0" compatLnSpc="1">
            <a:noAutofit/>
          </a:bodyPr>
          <a:lstStyle/>
          <a:p>
            <a:pPr lvl="0"/>
            <a:r>
              <a:rPr lang="en-GB" sz="4000" dirty="0">
                <a:solidFill>
                  <a:schemeClr val="bg1"/>
                </a:solidFill>
              </a:rPr>
              <a:t>WHO Regional Office for Europe work in preparing for COVID-19 vaccination and deployment </a:t>
            </a:r>
            <a:endParaRPr lang="en-US" sz="6600" dirty="0">
              <a:solidFill>
                <a:schemeClr val="bg1"/>
              </a:solidFill>
            </a:endParaRPr>
          </a:p>
        </p:txBody>
      </p:sp>
      <p:sp>
        <p:nvSpPr>
          <p:cNvPr id="4" name="Google Shape;195;p19"/>
          <p:cNvSpPr/>
          <p:nvPr/>
        </p:nvSpPr>
        <p:spPr>
          <a:xfrm>
            <a:off x="6786329" y="3803565"/>
            <a:ext cx="5399797" cy="83099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21" tIns="45701" rIns="91421" bIns="45701" anchor="t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83C5C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</a:b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183C5C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pic>
        <p:nvPicPr>
          <p:cNvPr id="5" name="Google Shape;196;p19" descr="A close up of a logo&#10;&#10;Description automatically generated"/>
          <p:cNvPicPr>
            <a:picLocks noChangeAspect="1"/>
          </p:cNvPicPr>
          <p:nvPr/>
        </p:nvPicPr>
        <p:blipFill>
          <a:blip r:embed="rId4"/>
          <a:srcRect l="9502" t="16901" r="10285" b="19115"/>
          <a:stretch>
            <a:fillRect/>
          </a:stretch>
        </p:blipFill>
        <p:spPr>
          <a:xfrm>
            <a:off x="133374" y="6317178"/>
            <a:ext cx="1290703" cy="41142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Google Shape;198;p19"/>
          <p:cNvSpPr/>
          <p:nvPr/>
        </p:nvSpPr>
        <p:spPr>
          <a:xfrm>
            <a:off x="5550866" y="5220241"/>
            <a:ext cx="6635260" cy="692493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21" tIns="45701" rIns="91421" bIns="45701" anchor="t" anchorCtr="0" compatLnSpc="1">
            <a:noAutofit/>
          </a:bodyPr>
          <a:lstStyle/>
          <a:p>
            <a:r>
              <a:rPr lang="en-GB" sz="24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WHO Regional webinar on Preparedness for COVID-19 Vaccination </a:t>
            </a:r>
            <a:endParaRPr lang="en-US" sz="24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Google Shape;199;p19"/>
          <p:cNvSpPr/>
          <p:nvPr/>
        </p:nvSpPr>
        <p:spPr>
          <a:xfrm>
            <a:off x="1665268" y="5913662"/>
            <a:ext cx="9181572" cy="83099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21" tIns="45701" rIns="91421" bIns="45701" anchor="t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80F80C2-0E04-4219-B48F-2BA57F70BAA7}"/>
              </a:ext>
            </a:extLst>
          </p:cNvPr>
          <p:cNvSpPr txBox="1">
            <a:spLocks/>
          </p:cNvSpPr>
          <p:nvPr/>
        </p:nvSpPr>
        <p:spPr>
          <a:xfrm>
            <a:off x="7379405" y="6051238"/>
            <a:ext cx="3141453" cy="67736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sz="2800" b="1" dirty="0">
                <a:solidFill>
                  <a:srgbClr val="7F7F7F"/>
                </a:solidFill>
                <a:latin typeface="Calibri" panose="020F0502020204030204"/>
              </a:rPr>
              <a:t>8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1892694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543F3-C7AD-4AF1-96EB-2A49BF259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257126"/>
            <a:ext cx="10933350" cy="886397"/>
          </a:xfrm>
        </p:spPr>
        <p:txBody>
          <a:bodyPr/>
          <a:lstStyle/>
          <a:p>
            <a:r>
              <a:rPr lang="en-US" sz="3200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Regional guidelines on routine vaccination during COVID-19 pandemic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F8B7D3B-48FC-4ED5-A352-133D063EDA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9325" y="1584455"/>
            <a:ext cx="2297548" cy="205500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98C7B00-C9BB-4315-9C13-7FD30984A789}"/>
              </a:ext>
            </a:extLst>
          </p:cNvPr>
          <p:cNvSpPr/>
          <p:nvPr/>
        </p:nvSpPr>
        <p:spPr>
          <a:xfrm>
            <a:off x="3296370" y="1738460"/>
            <a:ext cx="4919472" cy="16550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Decision making consid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Key princip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Decision making algorithm</a:t>
            </a:r>
            <a:endParaRPr lang="en-US" sz="105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51FF85-D440-49B4-8B5B-1F5F0AE879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377" y="4292008"/>
            <a:ext cx="6096000" cy="17040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B2D0832-7B4F-4E18-BD1D-F106647B459F}"/>
              </a:ext>
            </a:extLst>
          </p:cNvPr>
          <p:cNvSpPr/>
          <p:nvPr/>
        </p:nvSpPr>
        <p:spPr>
          <a:xfrm>
            <a:off x="6886634" y="4340977"/>
            <a:ext cx="4919472" cy="16550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Questions and answers on vaccination during the COVID-19 pandemic: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for health care worker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for par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872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F58D5-F4AB-4653-8DD7-6C524CC7F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91" y="2671924"/>
            <a:ext cx="3254370" cy="1314311"/>
          </a:xfrm>
        </p:spPr>
        <p:txBody>
          <a:bodyPr/>
          <a:lstStyle/>
          <a:p>
            <a:r>
              <a:rPr lang="en-US" sz="2800" b="1" dirty="0"/>
              <a:t>Strategic considerations for preparedness for COVID-19 vaccination and deployment in the WHO European Region</a:t>
            </a:r>
            <a:br>
              <a:rPr lang="en-US" sz="2400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82108C-0C04-4C80-820F-3BDC2CE5770A}"/>
              </a:ext>
            </a:extLst>
          </p:cNvPr>
          <p:cNvSpPr txBox="1"/>
          <p:nvPr/>
        </p:nvSpPr>
        <p:spPr>
          <a:xfrm>
            <a:off x="3912067" y="241339"/>
            <a:ext cx="8120543" cy="64940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  <a:r>
              <a:rPr lang="en-US" sz="28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257300" lvl="2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uide/Support National Immunization Programmes and Ministries of Health to consider critical areas in preparing for COVID-19 vaccination and deployment</a:t>
            </a:r>
          </a:p>
          <a:p>
            <a:pPr marL="1257300" lvl="2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llow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oHs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to identify and address critical gaps </a:t>
            </a:r>
          </a:p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ucture</a:t>
            </a:r>
            <a:r>
              <a:rPr lang="en-US" sz="28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sure appropriate management structure, advocacy and resources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sure evidence-informed national vaccination strategy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sure adequate legal and regulatory framework facilitating vaccine deploy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vise appropriate immunization service delivery modalities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sure appropriate vaccine and supply chain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sure adequate human resources and security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lan for vaccination data and information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lan for vaccine safety monitoring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lan for safe injections and waste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ddress demand generation, ensure community engagement and communic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4C16BC-1836-47A0-AE48-BE9802FEC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390" y="3135086"/>
            <a:ext cx="2724946" cy="372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74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CA9E9-E404-4C8A-8C13-E257F4644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ebinars on Preparedness for COVID-19  Vaccination for NITAGs</a:t>
            </a:r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CB2568-53C8-4686-A7A7-C41B5515B61C}"/>
              </a:ext>
            </a:extLst>
          </p:cNvPr>
          <p:cNvSpPr txBox="1"/>
          <p:nvPr/>
        </p:nvSpPr>
        <p:spPr>
          <a:xfrm>
            <a:off x="3940642" y="746164"/>
            <a:ext cx="8120543" cy="52629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cipants</a:t>
            </a:r>
            <a:r>
              <a:rPr lang="en-US" sz="28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257300" lvl="2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hairs and Secretariats of NITAGs and National Immunization Programme Managers from 16 L&amp;MICs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Objectives: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pdate NITAGs on COVID-19 vaccines in pipeline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Introduce recommendations of Strategic Advisory Group of Experts on COVID-19 vaccination objectives and target groups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hare experiences from well-functioning NITAGs in identifying target groups for COVID-19 vaccination 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iscuss NITAGs role in national preparedness for COVID-19 vaccination and define next steps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fine NITAGs needs for WHO and partners support in developing recommendations on COVID-19 vaccination policy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ates:</a:t>
            </a:r>
          </a:p>
          <a:p>
            <a:pPr marL="1257300" lvl="2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8 and 9 October 2020</a:t>
            </a:r>
          </a:p>
        </p:txBody>
      </p:sp>
    </p:spTree>
    <p:extLst>
      <p:ext uri="{BB962C8B-B14F-4D97-AF65-F5344CB8AC3E}">
        <p14:creationId xmlns:p14="http://schemas.microsoft.com/office/powerpoint/2010/main" val="345808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56655-3383-47EF-929C-21E9C37DD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ing of European Technical Advisory Group of Exper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E3DE47-91CA-4C16-9802-A90B615CB845}"/>
              </a:ext>
            </a:extLst>
          </p:cNvPr>
          <p:cNvSpPr txBox="1"/>
          <p:nvPr/>
        </p:nvSpPr>
        <p:spPr>
          <a:xfrm>
            <a:off x="3798029" y="1408894"/>
            <a:ext cx="8120543" cy="42934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Objectives: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TAGE recommendations on regional adaptation of Strategic Advisory Group of Experts Roadmap for prioritising population groups for vaccines against COVID-19 based on:</a:t>
            </a:r>
          </a:p>
          <a:p>
            <a:pPr marL="1714500" lvl="3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Regional data on COVID-19 disease epidemiology</a:t>
            </a:r>
          </a:p>
          <a:p>
            <a:pPr marL="1714500" lvl="3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accine impact modelling</a:t>
            </a:r>
          </a:p>
          <a:p>
            <a:pPr marL="1714500" lvl="3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reliminary recommendations of NITAGs (Belgium, France, UNK)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TAGE advise on </a:t>
            </a:r>
            <a:r>
              <a:rPr lang="da-DK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WHO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Regional Office </a:t>
            </a: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upport to NITAGs from L&amp;MICs in developing national COVID-19 vaccination strategies 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ates:</a:t>
            </a:r>
          </a:p>
          <a:p>
            <a:pPr marL="1714500" lvl="3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1-12 November 2020</a:t>
            </a:r>
          </a:p>
        </p:txBody>
      </p:sp>
    </p:spTree>
    <p:extLst>
      <p:ext uri="{BB962C8B-B14F-4D97-AF65-F5344CB8AC3E}">
        <p14:creationId xmlns:p14="http://schemas.microsoft.com/office/powerpoint/2010/main" val="32360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4229C-E804-48D8-9E18-83418C9BD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Operational guidelines on development and implementation of a national deployment and vaccination plan for COVID-19 vaccines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7EDA94-3BB7-4BA6-89FE-957C508153F6}"/>
              </a:ext>
            </a:extLst>
          </p:cNvPr>
          <p:cNvSpPr txBox="1"/>
          <p:nvPr/>
        </p:nvSpPr>
        <p:spPr>
          <a:xfrm>
            <a:off x="3912067" y="412789"/>
            <a:ext cx="8120543" cy="55399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Objectives:</a:t>
            </a:r>
          </a:p>
          <a:p>
            <a:pPr marL="1257300" lvl="2" indent="-34290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uide the national immunization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rogrammes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and Ministries of Health on the key aspects of COVID-19 vaccine deployment and vaccination </a:t>
            </a:r>
          </a:p>
          <a:p>
            <a:pPr marL="1257300" lvl="2" indent="-34290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ssist in tailoring global recommendations to the national settings</a:t>
            </a:r>
          </a:p>
          <a:p>
            <a:pPr marL="800100" lvl="1" indent="-342900"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etus areas: 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anagement structure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vidence-informed and ethical values-based national vaccination strategy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Legal and regulatory framework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Immunization service delivery modalities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accine and supply chain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accination data and information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accine safety monitoring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afe injections and waste management</a:t>
            </a:r>
          </a:p>
          <a:p>
            <a:pPr marL="1257300" lvl="2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mand generation, community engagement and communication </a:t>
            </a:r>
          </a:p>
          <a:p>
            <a:pPr marL="800100" lvl="1" indent="-3429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imeline:</a:t>
            </a:r>
          </a:p>
          <a:p>
            <a:pPr marL="1257300" lvl="2" indent="-342900">
              <a:spcBef>
                <a:spcPts val="600"/>
              </a:spcBef>
              <a:spcAft>
                <a:spcPts val="600"/>
              </a:spcAft>
              <a:buClr>
                <a:srgbClr val="04A4EC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cember 2020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06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EB4F8-C925-44A9-8EBC-46094177B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0070C0"/>
                </a:solidFill>
              </a:rPr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CBC063-9E96-452A-90FB-CC743F3ABF4A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sz="2800" spc="-30" dirty="0"/>
              <a:t>The Access to COVID-19 Tools (ACT) Accelerator was established to speed up development and delivery to countries of diagnostics, treatments and vaccines</a:t>
            </a:r>
          </a:p>
          <a:p>
            <a:r>
              <a:rPr lang="en-GB" sz="2800" spc="-30" dirty="0"/>
              <a:t>The</a:t>
            </a:r>
            <a:r>
              <a:rPr lang="en-GB" sz="2800" spc="-3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sz="2800" spc="-30" dirty="0"/>
              <a:t>COVAX Facility is an umbrella mechanism  through which demand and resources are pooled to support procurement of, and equitable access to, COVID-19 vaccines </a:t>
            </a:r>
          </a:p>
          <a:p>
            <a:r>
              <a:rPr lang="en-US" sz="2800" dirty="0"/>
              <a:t>Regional multi-stakeholder platform was established to support countries in building preparedness for COVID-19 vaccination</a:t>
            </a:r>
          </a:p>
          <a:p>
            <a:r>
              <a:rPr lang="en-US" sz="2800" dirty="0"/>
              <a:t>Regional guidelines on development of national plans on COVID-19 vaccines deployment and vaccination are available</a:t>
            </a:r>
          </a:p>
          <a:p>
            <a:r>
              <a:rPr lang="en-US" sz="2800" dirty="0"/>
              <a:t>WHO Regional Office for Europe committed to provide continuing support to countries in preparedness for COVID-19 vaccination:</a:t>
            </a:r>
          </a:p>
          <a:p>
            <a:pPr lvl="2">
              <a:buClrTx/>
            </a:pPr>
            <a:r>
              <a:rPr lang="en-US" sz="2200" dirty="0">
                <a:latin typeface="+mn-lt"/>
              </a:rPr>
              <a:t>Conducting webinars for NITAGs and NIP Managers</a:t>
            </a:r>
          </a:p>
          <a:p>
            <a:pPr lvl="2">
              <a:buClrTx/>
            </a:pPr>
            <a:r>
              <a:rPr lang="en-US" sz="2200" dirty="0">
                <a:latin typeface="+mn-lt"/>
              </a:rPr>
              <a:t>Providing tools to support countries in developing </a:t>
            </a:r>
            <a:r>
              <a:rPr lang="en-US" sz="2200">
                <a:latin typeface="+mn-lt"/>
              </a:rPr>
              <a:t>and implementing </a:t>
            </a:r>
            <a:r>
              <a:rPr lang="en-US" sz="2200" dirty="0">
                <a:latin typeface="+mn-lt"/>
              </a:rPr>
              <a:t>national plans</a:t>
            </a:r>
          </a:p>
          <a:p>
            <a:pPr marL="272034" lvl="1" indent="0">
              <a:buClrTx/>
              <a:buNone/>
            </a:pP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0805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EB4F8-C925-44A9-8EBC-46094177B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0070C0"/>
                </a:solidFill>
              </a:rPr>
              <a:t>Presentation 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CBC063-9E96-452A-90FB-CC743F3ABF4A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 lnSpcReduction="10000"/>
          </a:bodyPr>
          <a:lstStyle/>
          <a:p>
            <a:r>
              <a:rPr lang="en-US" sz="3200" dirty="0"/>
              <a:t>Global platform for COVID-19 response: the ACT Accelerator and COVAX</a:t>
            </a:r>
          </a:p>
          <a:p>
            <a:r>
              <a:rPr lang="en-US" sz="3200" dirty="0"/>
              <a:t>Participation of countries of the WHO European Region in the COVAX Facility</a:t>
            </a:r>
          </a:p>
          <a:p>
            <a:r>
              <a:rPr lang="en-US" sz="3200" dirty="0"/>
              <a:t>Regional framework to support preparedness for COVID-19 vaccination </a:t>
            </a:r>
          </a:p>
          <a:p>
            <a:r>
              <a:rPr lang="en-US" sz="3200" dirty="0"/>
              <a:t>Regional support in developing and implementing national plans on COVID-19 vaccines deployment and vaccin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05128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81A5CE-A1F9-48FD-97B5-93B144F74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3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81A5CE-A1F9-48FD-97B5-93B144F74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6D2F58-71FF-4EEE-8627-86FCC051D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286001" y="3542161"/>
            <a:ext cx="3008345" cy="2391914"/>
          </a:xfrm>
          <a:prstGeom prst="rect">
            <a:avLst/>
          </a:prstGeom>
          <a:solidFill>
            <a:schemeClr val="bg1"/>
          </a:solidFill>
          <a:ln w="25400" cap="rnd" cmpd="sng" algn="ctr">
            <a:solidFill>
              <a:srgbClr val="F7964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52AFD74-DE7E-439C-95C5-0B33FD220BD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41300"/>
            <a:ext cx="11938000" cy="996950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dirty="0">
                <a:solidFill>
                  <a:srgbClr val="0070C0"/>
                </a:solidFill>
              </a:rPr>
              <a:t>The ACT-Accelerator structures COVID-19 global response efforts in a collaborative framework across three partnerships</a:t>
            </a:r>
          </a:p>
        </p:txBody>
      </p:sp>
      <p:sp>
        <p:nvSpPr>
          <p:cNvPr id="4" name="Rectangle 3"/>
          <p:cNvSpPr/>
          <p:nvPr/>
        </p:nvSpPr>
        <p:spPr>
          <a:xfrm>
            <a:off x="5364033" y="1580116"/>
            <a:ext cx="2987255" cy="270843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Global Stewardship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969703" y="2042884"/>
            <a:ext cx="7330034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acilitation group to oversee and report progress, mobilise resources and engage with stakeholder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Public sector and private not-for-profit partners, such as:</a:t>
            </a:r>
          </a:p>
        </p:txBody>
      </p:sp>
      <p:cxnSp>
        <p:nvCxnSpPr>
          <p:cNvPr id="15" name="Straight Arrow Connector 14"/>
          <p:cNvCxnSpPr>
            <a:cxnSpLocks/>
            <a:stCxn id="4" idx="2"/>
          </p:cNvCxnSpPr>
          <p:nvPr/>
        </p:nvCxnSpPr>
        <p:spPr>
          <a:xfrm>
            <a:off x="6857661" y="1850959"/>
            <a:ext cx="0" cy="19192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bcgIcons_Syringe">
            <a:extLst>
              <a:ext uri="{FF2B5EF4-FFF2-40B4-BE49-F238E27FC236}">
                <a16:creationId xmlns:a16="http://schemas.microsoft.com/office/drawing/2014/main" id="{163597B7-C8DD-4E9C-B2FF-FDD80D1928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17029" y="3560971"/>
            <a:ext cx="476323" cy="476765"/>
            <a:chOff x="1682" y="0"/>
            <a:chExt cx="4316" cy="4320"/>
          </a:xfrm>
        </p:grpSpPr>
        <p:sp>
          <p:nvSpPr>
            <p:cNvPr id="27" name="AutoShape 18">
              <a:extLst>
                <a:ext uri="{FF2B5EF4-FFF2-40B4-BE49-F238E27FC236}">
                  <a16:creationId xmlns:a16="http://schemas.microsoft.com/office/drawing/2014/main" id="{D645362A-CD97-4207-A275-9EA17715F84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59312CC7-62FB-45F2-A9A3-A2FD3FFF32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6" y="501"/>
              <a:ext cx="3377" cy="3371"/>
            </a:xfrm>
            <a:custGeom>
              <a:avLst/>
              <a:gdLst>
                <a:gd name="T0" fmla="*/ 1470 w 1803"/>
                <a:gd name="T1" fmla="*/ 833 h 1798"/>
                <a:gd name="T2" fmla="*/ 1438 w 1803"/>
                <a:gd name="T3" fmla="*/ 833 h 1798"/>
                <a:gd name="T4" fmla="*/ 972 w 1803"/>
                <a:gd name="T5" fmla="*/ 335 h 1798"/>
                <a:gd name="T6" fmla="*/ 1470 w 1803"/>
                <a:gd name="T7" fmla="*/ 802 h 1798"/>
                <a:gd name="T8" fmla="*/ 730 w 1803"/>
                <a:gd name="T9" fmla="*/ 1353 h 1798"/>
                <a:gd name="T10" fmla="*/ 462 w 1803"/>
                <a:gd name="T11" fmla="*/ 1107 h 1798"/>
                <a:gd name="T12" fmla="*/ 1019 w 1803"/>
                <a:gd name="T13" fmla="*/ 476 h 1798"/>
                <a:gd name="T14" fmla="*/ 431 w 1803"/>
                <a:gd name="T15" fmla="*/ 1002 h 1798"/>
                <a:gd name="T16" fmla="*/ 662 w 1803"/>
                <a:gd name="T17" fmla="*/ 1369 h 1798"/>
                <a:gd name="T18" fmla="*/ 798 w 1803"/>
                <a:gd name="T19" fmla="*/ 1369 h 1798"/>
                <a:gd name="T20" fmla="*/ 1324 w 1803"/>
                <a:gd name="T21" fmla="*/ 781 h 1798"/>
                <a:gd name="T22" fmla="*/ 1794 w 1803"/>
                <a:gd name="T23" fmla="*/ 386 h 1798"/>
                <a:gd name="T24" fmla="*/ 1385 w 1803"/>
                <a:gd name="T25" fmla="*/ 8 h 1798"/>
                <a:gd name="T26" fmla="*/ 1763 w 1803"/>
                <a:gd name="T27" fmla="*/ 417 h 1798"/>
                <a:gd name="T28" fmla="*/ 1794 w 1803"/>
                <a:gd name="T29" fmla="*/ 417 h 1798"/>
                <a:gd name="T30" fmla="*/ 479 w 1803"/>
                <a:gd name="T31" fmla="*/ 1400 h 1798"/>
                <a:gd name="T32" fmla="*/ 474 w 1803"/>
                <a:gd name="T33" fmla="*/ 1400 h 1798"/>
                <a:gd name="T34" fmla="*/ 399 w 1803"/>
                <a:gd name="T35" fmla="*/ 1324 h 1798"/>
                <a:gd name="T36" fmla="*/ 472 w 1803"/>
                <a:gd name="T37" fmla="*/ 1249 h 1798"/>
                <a:gd name="T38" fmla="*/ 369 w 1803"/>
                <a:gd name="T39" fmla="*/ 1290 h 1798"/>
                <a:gd name="T40" fmla="*/ 443 w 1803"/>
                <a:gd name="T41" fmla="*/ 1431 h 1798"/>
                <a:gd name="T42" fmla="*/ 510 w 1803"/>
                <a:gd name="T43" fmla="*/ 1431 h 1798"/>
                <a:gd name="T44" fmla="*/ 551 w 1803"/>
                <a:gd name="T45" fmla="*/ 1328 h 1798"/>
                <a:gd name="T46" fmla="*/ 8 w 1803"/>
                <a:gd name="T47" fmla="*/ 1761 h 1798"/>
                <a:gd name="T48" fmla="*/ 24 w 1803"/>
                <a:gd name="T49" fmla="*/ 1798 h 1798"/>
                <a:gd name="T50" fmla="*/ 385 w 1803"/>
                <a:gd name="T51" fmla="*/ 1446 h 1798"/>
                <a:gd name="T52" fmla="*/ 8 w 1803"/>
                <a:gd name="T53" fmla="*/ 1761 h 1798"/>
                <a:gd name="T54" fmla="*/ 1336 w 1803"/>
                <a:gd name="T55" fmla="*/ 606 h 1798"/>
                <a:gd name="T56" fmla="*/ 1582 w 1803"/>
                <a:gd name="T57" fmla="*/ 298 h 1798"/>
                <a:gd name="T58" fmla="*/ 1472 w 1803"/>
                <a:gd name="T59" fmla="*/ 188 h 1798"/>
                <a:gd name="T60" fmla="*/ 1226 w 1803"/>
                <a:gd name="T61" fmla="*/ 496 h 1798"/>
                <a:gd name="T62" fmla="*/ 1472 w 1803"/>
                <a:gd name="T63" fmla="*/ 188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3" h="1798">
                  <a:moveTo>
                    <a:pt x="1470" y="802"/>
                  </a:moveTo>
                  <a:cubicBezTo>
                    <a:pt x="1478" y="810"/>
                    <a:pt x="1478" y="824"/>
                    <a:pt x="1470" y="833"/>
                  </a:cubicBezTo>
                  <a:cubicBezTo>
                    <a:pt x="1465" y="837"/>
                    <a:pt x="1460" y="839"/>
                    <a:pt x="1454" y="839"/>
                  </a:cubicBezTo>
                  <a:cubicBezTo>
                    <a:pt x="1448" y="839"/>
                    <a:pt x="1443" y="837"/>
                    <a:pt x="1438" y="833"/>
                  </a:cubicBezTo>
                  <a:cubicBezTo>
                    <a:pt x="972" y="366"/>
                    <a:pt x="972" y="366"/>
                    <a:pt x="972" y="366"/>
                  </a:cubicBezTo>
                  <a:cubicBezTo>
                    <a:pt x="963" y="357"/>
                    <a:pt x="963" y="343"/>
                    <a:pt x="972" y="335"/>
                  </a:cubicBezTo>
                  <a:cubicBezTo>
                    <a:pt x="980" y="326"/>
                    <a:pt x="994" y="326"/>
                    <a:pt x="1003" y="335"/>
                  </a:cubicBezTo>
                  <a:lnTo>
                    <a:pt x="1470" y="802"/>
                  </a:lnTo>
                  <a:close/>
                  <a:moveTo>
                    <a:pt x="767" y="1338"/>
                  </a:moveTo>
                  <a:cubicBezTo>
                    <a:pt x="757" y="1348"/>
                    <a:pt x="744" y="1353"/>
                    <a:pt x="730" y="1353"/>
                  </a:cubicBezTo>
                  <a:cubicBezTo>
                    <a:pt x="716" y="1353"/>
                    <a:pt x="703" y="1348"/>
                    <a:pt x="693" y="1338"/>
                  </a:cubicBezTo>
                  <a:cubicBezTo>
                    <a:pt x="462" y="1107"/>
                    <a:pt x="462" y="1107"/>
                    <a:pt x="462" y="1107"/>
                  </a:cubicBezTo>
                  <a:cubicBezTo>
                    <a:pt x="442" y="1087"/>
                    <a:pt x="442" y="1054"/>
                    <a:pt x="462" y="1033"/>
                  </a:cubicBezTo>
                  <a:cubicBezTo>
                    <a:pt x="1019" y="476"/>
                    <a:pt x="1019" y="476"/>
                    <a:pt x="1019" y="476"/>
                  </a:cubicBezTo>
                  <a:cubicBezTo>
                    <a:pt x="988" y="445"/>
                    <a:pt x="988" y="445"/>
                    <a:pt x="988" y="445"/>
                  </a:cubicBezTo>
                  <a:cubicBezTo>
                    <a:pt x="431" y="1002"/>
                    <a:pt x="431" y="1002"/>
                    <a:pt x="431" y="1002"/>
                  </a:cubicBezTo>
                  <a:cubicBezTo>
                    <a:pt x="393" y="1040"/>
                    <a:pt x="393" y="1101"/>
                    <a:pt x="431" y="1138"/>
                  </a:cubicBezTo>
                  <a:cubicBezTo>
                    <a:pt x="662" y="1369"/>
                    <a:pt x="662" y="1369"/>
                    <a:pt x="662" y="1369"/>
                  </a:cubicBezTo>
                  <a:cubicBezTo>
                    <a:pt x="680" y="1387"/>
                    <a:pt x="704" y="1397"/>
                    <a:pt x="730" y="1397"/>
                  </a:cubicBezTo>
                  <a:cubicBezTo>
                    <a:pt x="755" y="1397"/>
                    <a:pt x="780" y="1387"/>
                    <a:pt x="798" y="1369"/>
                  </a:cubicBezTo>
                  <a:cubicBezTo>
                    <a:pt x="1355" y="812"/>
                    <a:pt x="1355" y="812"/>
                    <a:pt x="1355" y="812"/>
                  </a:cubicBezTo>
                  <a:cubicBezTo>
                    <a:pt x="1324" y="781"/>
                    <a:pt x="1324" y="781"/>
                    <a:pt x="1324" y="781"/>
                  </a:cubicBezTo>
                  <a:lnTo>
                    <a:pt x="767" y="1338"/>
                  </a:lnTo>
                  <a:close/>
                  <a:moveTo>
                    <a:pt x="1794" y="386"/>
                  </a:moveTo>
                  <a:cubicBezTo>
                    <a:pt x="1416" y="8"/>
                    <a:pt x="1416" y="8"/>
                    <a:pt x="1416" y="8"/>
                  </a:cubicBezTo>
                  <a:cubicBezTo>
                    <a:pt x="1408" y="0"/>
                    <a:pt x="1394" y="0"/>
                    <a:pt x="1385" y="8"/>
                  </a:cubicBezTo>
                  <a:cubicBezTo>
                    <a:pt x="1377" y="17"/>
                    <a:pt x="1377" y="31"/>
                    <a:pt x="1385" y="39"/>
                  </a:cubicBezTo>
                  <a:cubicBezTo>
                    <a:pt x="1763" y="417"/>
                    <a:pt x="1763" y="417"/>
                    <a:pt x="1763" y="417"/>
                  </a:cubicBezTo>
                  <a:cubicBezTo>
                    <a:pt x="1767" y="421"/>
                    <a:pt x="1773" y="423"/>
                    <a:pt x="1778" y="423"/>
                  </a:cubicBezTo>
                  <a:cubicBezTo>
                    <a:pt x="1784" y="423"/>
                    <a:pt x="1790" y="421"/>
                    <a:pt x="1794" y="417"/>
                  </a:cubicBezTo>
                  <a:cubicBezTo>
                    <a:pt x="1803" y="408"/>
                    <a:pt x="1803" y="394"/>
                    <a:pt x="1794" y="386"/>
                  </a:cubicBezTo>
                  <a:close/>
                  <a:moveTo>
                    <a:pt x="479" y="1400"/>
                  </a:moveTo>
                  <a:cubicBezTo>
                    <a:pt x="478" y="1401"/>
                    <a:pt x="477" y="1401"/>
                    <a:pt x="476" y="1401"/>
                  </a:cubicBezTo>
                  <a:cubicBezTo>
                    <a:pt x="476" y="1401"/>
                    <a:pt x="475" y="1401"/>
                    <a:pt x="474" y="1400"/>
                  </a:cubicBezTo>
                  <a:cubicBezTo>
                    <a:pt x="400" y="1326"/>
                    <a:pt x="400" y="1326"/>
                    <a:pt x="400" y="1326"/>
                  </a:cubicBezTo>
                  <a:cubicBezTo>
                    <a:pt x="399" y="1325"/>
                    <a:pt x="399" y="1324"/>
                    <a:pt x="399" y="1324"/>
                  </a:cubicBezTo>
                  <a:cubicBezTo>
                    <a:pt x="399" y="1323"/>
                    <a:pt x="399" y="1322"/>
                    <a:pt x="400" y="1321"/>
                  </a:cubicBezTo>
                  <a:cubicBezTo>
                    <a:pt x="472" y="1249"/>
                    <a:pt x="472" y="1249"/>
                    <a:pt x="472" y="1249"/>
                  </a:cubicBezTo>
                  <a:cubicBezTo>
                    <a:pt x="441" y="1218"/>
                    <a:pt x="441" y="1218"/>
                    <a:pt x="441" y="1218"/>
                  </a:cubicBezTo>
                  <a:cubicBezTo>
                    <a:pt x="369" y="1290"/>
                    <a:pt x="369" y="1290"/>
                    <a:pt x="369" y="1290"/>
                  </a:cubicBezTo>
                  <a:cubicBezTo>
                    <a:pt x="350" y="1309"/>
                    <a:pt x="350" y="1339"/>
                    <a:pt x="369" y="1357"/>
                  </a:cubicBezTo>
                  <a:cubicBezTo>
                    <a:pt x="443" y="1431"/>
                    <a:pt x="443" y="1431"/>
                    <a:pt x="443" y="1431"/>
                  </a:cubicBezTo>
                  <a:cubicBezTo>
                    <a:pt x="452" y="1440"/>
                    <a:pt x="464" y="1445"/>
                    <a:pt x="476" y="1445"/>
                  </a:cubicBezTo>
                  <a:cubicBezTo>
                    <a:pt x="488" y="1445"/>
                    <a:pt x="501" y="1440"/>
                    <a:pt x="510" y="1431"/>
                  </a:cubicBezTo>
                  <a:cubicBezTo>
                    <a:pt x="582" y="1359"/>
                    <a:pt x="582" y="1359"/>
                    <a:pt x="582" y="1359"/>
                  </a:cubicBezTo>
                  <a:cubicBezTo>
                    <a:pt x="551" y="1328"/>
                    <a:pt x="551" y="1328"/>
                    <a:pt x="551" y="1328"/>
                  </a:cubicBezTo>
                  <a:lnTo>
                    <a:pt x="479" y="1400"/>
                  </a:lnTo>
                  <a:close/>
                  <a:moveTo>
                    <a:pt x="8" y="1761"/>
                  </a:moveTo>
                  <a:cubicBezTo>
                    <a:pt x="0" y="1769"/>
                    <a:pt x="0" y="1783"/>
                    <a:pt x="8" y="1792"/>
                  </a:cubicBezTo>
                  <a:cubicBezTo>
                    <a:pt x="13" y="1796"/>
                    <a:pt x="18" y="1798"/>
                    <a:pt x="24" y="1798"/>
                  </a:cubicBezTo>
                  <a:cubicBezTo>
                    <a:pt x="29" y="1798"/>
                    <a:pt x="35" y="1796"/>
                    <a:pt x="39" y="1792"/>
                  </a:cubicBezTo>
                  <a:cubicBezTo>
                    <a:pt x="385" y="1446"/>
                    <a:pt x="385" y="1446"/>
                    <a:pt x="385" y="1446"/>
                  </a:cubicBezTo>
                  <a:cubicBezTo>
                    <a:pt x="354" y="1415"/>
                    <a:pt x="354" y="1415"/>
                    <a:pt x="354" y="1415"/>
                  </a:cubicBezTo>
                  <a:lnTo>
                    <a:pt x="8" y="1761"/>
                  </a:lnTo>
                  <a:close/>
                  <a:moveTo>
                    <a:pt x="1305" y="575"/>
                  </a:moveTo>
                  <a:cubicBezTo>
                    <a:pt x="1336" y="606"/>
                    <a:pt x="1336" y="606"/>
                    <a:pt x="1336" y="606"/>
                  </a:cubicBezTo>
                  <a:cubicBezTo>
                    <a:pt x="1613" y="329"/>
                    <a:pt x="1613" y="329"/>
                    <a:pt x="1613" y="329"/>
                  </a:cubicBezTo>
                  <a:cubicBezTo>
                    <a:pt x="1582" y="298"/>
                    <a:pt x="1582" y="298"/>
                    <a:pt x="1582" y="298"/>
                  </a:cubicBezTo>
                  <a:lnTo>
                    <a:pt x="1305" y="575"/>
                  </a:lnTo>
                  <a:close/>
                  <a:moveTo>
                    <a:pt x="1472" y="188"/>
                  </a:moveTo>
                  <a:cubicBezTo>
                    <a:pt x="1195" y="465"/>
                    <a:pt x="1195" y="465"/>
                    <a:pt x="1195" y="465"/>
                  </a:cubicBezTo>
                  <a:cubicBezTo>
                    <a:pt x="1226" y="496"/>
                    <a:pt x="1226" y="496"/>
                    <a:pt x="1226" y="496"/>
                  </a:cubicBezTo>
                  <a:cubicBezTo>
                    <a:pt x="1503" y="219"/>
                    <a:pt x="1503" y="219"/>
                    <a:pt x="1503" y="219"/>
                  </a:cubicBezTo>
                  <a:lnTo>
                    <a:pt x="1472" y="188"/>
                  </a:lnTo>
                  <a:close/>
                </a:path>
              </a:pathLst>
            </a:custGeom>
            <a:solidFill>
              <a:srgbClr val="F79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89D2BA18-5B08-4795-B16D-CA17923D0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3" y="1451"/>
              <a:ext cx="1515" cy="1517"/>
            </a:xfrm>
            <a:custGeom>
              <a:avLst/>
              <a:gdLst>
                <a:gd name="T0" fmla="*/ 567 w 809"/>
                <a:gd name="T1" fmla="*/ 0 h 809"/>
                <a:gd name="T2" fmla="*/ 439 w 809"/>
                <a:gd name="T3" fmla="*/ 128 h 809"/>
                <a:gd name="T4" fmla="*/ 534 w 809"/>
                <a:gd name="T5" fmla="*/ 223 h 809"/>
                <a:gd name="T6" fmla="*/ 534 w 809"/>
                <a:gd name="T7" fmla="*/ 255 h 809"/>
                <a:gd name="T8" fmla="*/ 519 w 809"/>
                <a:gd name="T9" fmla="*/ 261 h 809"/>
                <a:gd name="T10" fmla="*/ 503 w 809"/>
                <a:gd name="T11" fmla="*/ 255 h 809"/>
                <a:gd name="T12" fmla="*/ 408 w 809"/>
                <a:gd name="T13" fmla="*/ 159 h 809"/>
                <a:gd name="T14" fmla="*/ 300 w 809"/>
                <a:gd name="T15" fmla="*/ 267 h 809"/>
                <a:gd name="T16" fmla="*/ 396 w 809"/>
                <a:gd name="T17" fmla="*/ 362 h 809"/>
                <a:gd name="T18" fmla="*/ 396 w 809"/>
                <a:gd name="T19" fmla="*/ 393 h 809"/>
                <a:gd name="T20" fmla="*/ 380 w 809"/>
                <a:gd name="T21" fmla="*/ 400 h 809"/>
                <a:gd name="T22" fmla="*/ 364 w 809"/>
                <a:gd name="T23" fmla="*/ 393 h 809"/>
                <a:gd name="T24" fmla="*/ 269 w 809"/>
                <a:gd name="T25" fmla="*/ 298 h 809"/>
                <a:gd name="T26" fmla="*/ 161 w 809"/>
                <a:gd name="T27" fmla="*/ 405 h 809"/>
                <a:gd name="T28" fmla="*/ 257 w 809"/>
                <a:gd name="T29" fmla="*/ 501 h 809"/>
                <a:gd name="T30" fmla="*/ 257 w 809"/>
                <a:gd name="T31" fmla="*/ 532 h 809"/>
                <a:gd name="T32" fmla="*/ 241 w 809"/>
                <a:gd name="T33" fmla="*/ 538 h 809"/>
                <a:gd name="T34" fmla="*/ 226 w 809"/>
                <a:gd name="T35" fmla="*/ 532 h 809"/>
                <a:gd name="T36" fmla="*/ 130 w 809"/>
                <a:gd name="T37" fmla="*/ 437 h 809"/>
                <a:gd name="T38" fmla="*/ 1 w 809"/>
                <a:gd name="T39" fmla="*/ 566 h 809"/>
                <a:gd name="T40" fmla="*/ 1 w 809"/>
                <a:gd name="T41" fmla="*/ 570 h 809"/>
                <a:gd name="T42" fmla="*/ 239 w 809"/>
                <a:gd name="T43" fmla="*/ 808 h 809"/>
                <a:gd name="T44" fmla="*/ 241 w 809"/>
                <a:gd name="T45" fmla="*/ 809 h 809"/>
                <a:gd name="T46" fmla="*/ 243 w 809"/>
                <a:gd name="T47" fmla="*/ 808 h 809"/>
                <a:gd name="T48" fmla="*/ 809 w 809"/>
                <a:gd name="T49" fmla="*/ 242 h 809"/>
                <a:gd name="T50" fmla="*/ 567 w 809"/>
                <a:gd name="T51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9" h="809">
                  <a:moveTo>
                    <a:pt x="567" y="0"/>
                  </a:moveTo>
                  <a:cubicBezTo>
                    <a:pt x="439" y="128"/>
                    <a:pt x="439" y="128"/>
                    <a:pt x="439" y="128"/>
                  </a:cubicBezTo>
                  <a:cubicBezTo>
                    <a:pt x="534" y="223"/>
                    <a:pt x="534" y="223"/>
                    <a:pt x="534" y="223"/>
                  </a:cubicBezTo>
                  <a:cubicBezTo>
                    <a:pt x="543" y="232"/>
                    <a:pt x="543" y="246"/>
                    <a:pt x="534" y="255"/>
                  </a:cubicBezTo>
                  <a:cubicBezTo>
                    <a:pt x="530" y="259"/>
                    <a:pt x="524" y="261"/>
                    <a:pt x="519" y="261"/>
                  </a:cubicBezTo>
                  <a:cubicBezTo>
                    <a:pt x="513" y="261"/>
                    <a:pt x="507" y="259"/>
                    <a:pt x="503" y="255"/>
                  </a:cubicBezTo>
                  <a:cubicBezTo>
                    <a:pt x="408" y="159"/>
                    <a:pt x="408" y="159"/>
                    <a:pt x="408" y="159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96" y="362"/>
                    <a:pt x="396" y="362"/>
                    <a:pt x="396" y="362"/>
                  </a:cubicBezTo>
                  <a:cubicBezTo>
                    <a:pt x="404" y="371"/>
                    <a:pt x="404" y="385"/>
                    <a:pt x="396" y="393"/>
                  </a:cubicBezTo>
                  <a:cubicBezTo>
                    <a:pt x="391" y="398"/>
                    <a:pt x="386" y="400"/>
                    <a:pt x="380" y="400"/>
                  </a:cubicBezTo>
                  <a:cubicBezTo>
                    <a:pt x="374" y="400"/>
                    <a:pt x="369" y="398"/>
                    <a:pt x="364" y="393"/>
                  </a:cubicBezTo>
                  <a:cubicBezTo>
                    <a:pt x="269" y="298"/>
                    <a:pt x="269" y="298"/>
                    <a:pt x="269" y="298"/>
                  </a:cubicBezTo>
                  <a:cubicBezTo>
                    <a:pt x="161" y="405"/>
                    <a:pt x="161" y="405"/>
                    <a:pt x="161" y="405"/>
                  </a:cubicBezTo>
                  <a:cubicBezTo>
                    <a:pt x="257" y="501"/>
                    <a:pt x="257" y="501"/>
                    <a:pt x="257" y="501"/>
                  </a:cubicBezTo>
                  <a:cubicBezTo>
                    <a:pt x="265" y="509"/>
                    <a:pt x="265" y="523"/>
                    <a:pt x="257" y="532"/>
                  </a:cubicBezTo>
                  <a:cubicBezTo>
                    <a:pt x="253" y="536"/>
                    <a:pt x="247" y="538"/>
                    <a:pt x="241" y="538"/>
                  </a:cubicBezTo>
                  <a:cubicBezTo>
                    <a:pt x="236" y="538"/>
                    <a:pt x="230" y="536"/>
                    <a:pt x="226" y="532"/>
                  </a:cubicBezTo>
                  <a:cubicBezTo>
                    <a:pt x="130" y="437"/>
                    <a:pt x="130" y="437"/>
                    <a:pt x="130" y="437"/>
                  </a:cubicBezTo>
                  <a:cubicBezTo>
                    <a:pt x="1" y="566"/>
                    <a:pt x="1" y="566"/>
                    <a:pt x="1" y="566"/>
                  </a:cubicBezTo>
                  <a:cubicBezTo>
                    <a:pt x="0" y="567"/>
                    <a:pt x="0" y="569"/>
                    <a:pt x="1" y="570"/>
                  </a:cubicBezTo>
                  <a:cubicBezTo>
                    <a:pt x="239" y="808"/>
                    <a:pt x="239" y="808"/>
                    <a:pt x="239" y="808"/>
                  </a:cubicBezTo>
                  <a:cubicBezTo>
                    <a:pt x="239" y="808"/>
                    <a:pt x="240" y="809"/>
                    <a:pt x="241" y="809"/>
                  </a:cubicBezTo>
                  <a:cubicBezTo>
                    <a:pt x="242" y="809"/>
                    <a:pt x="243" y="808"/>
                    <a:pt x="243" y="808"/>
                  </a:cubicBezTo>
                  <a:cubicBezTo>
                    <a:pt x="809" y="242"/>
                    <a:pt x="809" y="242"/>
                    <a:pt x="809" y="242"/>
                  </a:cubicBezTo>
                  <a:lnTo>
                    <a:pt x="567" y="0"/>
                  </a:lnTo>
                  <a:close/>
                </a:path>
              </a:pathLst>
            </a:custGeom>
            <a:solidFill>
              <a:srgbClr val="F79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" name="Group 29"/>
          <p:cNvGrpSpPr>
            <a:grpSpLocks noChangeAspect="1"/>
          </p:cNvGrpSpPr>
          <p:nvPr/>
        </p:nvGrpSpPr>
        <p:grpSpPr>
          <a:xfrm>
            <a:off x="5533143" y="3560971"/>
            <a:ext cx="477225" cy="476765"/>
            <a:chOff x="6464300" y="2606675"/>
            <a:chExt cx="1646238" cy="1644650"/>
          </a:xfrm>
        </p:grpSpPr>
        <p:sp>
          <p:nvSpPr>
            <p:cNvPr id="3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729413" y="2882900"/>
              <a:ext cx="1123838" cy="1123951"/>
              <a:chOff x="6729413" y="2882900"/>
              <a:chExt cx="1123838" cy="1123951"/>
            </a:xfrm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7097713" y="2882900"/>
                <a:ext cx="639763" cy="595313"/>
              </a:xfrm>
              <a:custGeom>
                <a:avLst/>
                <a:gdLst>
                  <a:gd name="T0" fmla="*/ 869 w 894"/>
                  <a:gd name="T1" fmla="*/ 310 h 833"/>
                  <a:gd name="T2" fmla="*/ 583 w 894"/>
                  <a:gd name="T3" fmla="*/ 310 h 833"/>
                  <a:gd name="T4" fmla="*/ 583 w 894"/>
                  <a:gd name="T5" fmla="*/ 26 h 833"/>
                  <a:gd name="T6" fmla="*/ 557 w 894"/>
                  <a:gd name="T7" fmla="*/ 0 h 833"/>
                  <a:gd name="T8" fmla="*/ 337 w 894"/>
                  <a:gd name="T9" fmla="*/ 0 h 833"/>
                  <a:gd name="T10" fmla="*/ 311 w 894"/>
                  <a:gd name="T11" fmla="*/ 26 h 833"/>
                  <a:gd name="T12" fmla="*/ 311 w 894"/>
                  <a:gd name="T13" fmla="*/ 310 h 833"/>
                  <a:gd name="T14" fmla="*/ 25 w 894"/>
                  <a:gd name="T15" fmla="*/ 310 h 833"/>
                  <a:gd name="T16" fmla="*/ 0 w 894"/>
                  <a:gd name="T17" fmla="*/ 336 h 833"/>
                  <a:gd name="T18" fmla="*/ 0 w 894"/>
                  <a:gd name="T19" fmla="*/ 555 h 833"/>
                  <a:gd name="T20" fmla="*/ 25 w 894"/>
                  <a:gd name="T21" fmla="*/ 579 h 833"/>
                  <a:gd name="T22" fmla="*/ 311 w 894"/>
                  <a:gd name="T23" fmla="*/ 579 h 833"/>
                  <a:gd name="T24" fmla="*/ 311 w 894"/>
                  <a:gd name="T25" fmla="*/ 701 h 833"/>
                  <a:gd name="T26" fmla="*/ 311 w 894"/>
                  <a:gd name="T27" fmla="*/ 774 h 833"/>
                  <a:gd name="T28" fmla="*/ 311 w 894"/>
                  <a:gd name="T29" fmla="*/ 785 h 833"/>
                  <a:gd name="T30" fmla="*/ 488 w 894"/>
                  <a:gd name="T31" fmla="*/ 794 h 833"/>
                  <a:gd name="T32" fmla="*/ 583 w 894"/>
                  <a:gd name="T33" fmla="*/ 833 h 833"/>
                  <a:gd name="T34" fmla="*/ 583 w 894"/>
                  <a:gd name="T35" fmla="*/ 787 h 833"/>
                  <a:gd name="T36" fmla="*/ 583 w 894"/>
                  <a:gd name="T37" fmla="*/ 787 h 833"/>
                  <a:gd name="T38" fmla="*/ 583 w 894"/>
                  <a:gd name="T39" fmla="*/ 579 h 833"/>
                  <a:gd name="T40" fmla="*/ 869 w 894"/>
                  <a:gd name="T41" fmla="*/ 579 h 833"/>
                  <a:gd name="T42" fmla="*/ 894 w 894"/>
                  <a:gd name="T43" fmla="*/ 555 h 833"/>
                  <a:gd name="T44" fmla="*/ 894 w 894"/>
                  <a:gd name="T45" fmla="*/ 336 h 833"/>
                  <a:gd name="T46" fmla="*/ 869 w 894"/>
                  <a:gd name="T47" fmla="*/ 31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94" h="833">
                    <a:moveTo>
                      <a:pt x="869" y="310"/>
                    </a:moveTo>
                    <a:cubicBezTo>
                      <a:pt x="869" y="310"/>
                      <a:pt x="869" y="310"/>
                      <a:pt x="583" y="310"/>
                    </a:cubicBezTo>
                    <a:cubicBezTo>
                      <a:pt x="583" y="310"/>
                      <a:pt x="583" y="310"/>
                      <a:pt x="583" y="26"/>
                    </a:cubicBezTo>
                    <a:cubicBezTo>
                      <a:pt x="583" y="12"/>
                      <a:pt x="571" y="0"/>
                      <a:pt x="557" y="0"/>
                    </a:cubicBezTo>
                    <a:cubicBezTo>
                      <a:pt x="557" y="0"/>
                      <a:pt x="557" y="0"/>
                      <a:pt x="337" y="0"/>
                    </a:cubicBezTo>
                    <a:cubicBezTo>
                      <a:pt x="323" y="0"/>
                      <a:pt x="311" y="12"/>
                      <a:pt x="311" y="26"/>
                    </a:cubicBezTo>
                    <a:cubicBezTo>
                      <a:pt x="311" y="26"/>
                      <a:pt x="311" y="26"/>
                      <a:pt x="311" y="310"/>
                    </a:cubicBezTo>
                    <a:cubicBezTo>
                      <a:pt x="311" y="310"/>
                      <a:pt x="311" y="310"/>
                      <a:pt x="25" y="310"/>
                    </a:cubicBezTo>
                    <a:cubicBezTo>
                      <a:pt x="11" y="310"/>
                      <a:pt x="0" y="322"/>
                      <a:pt x="0" y="336"/>
                    </a:cubicBezTo>
                    <a:cubicBezTo>
                      <a:pt x="0" y="336"/>
                      <a:pt x="0" y="336"/>
                      <a:pt x="0" y="555"/>
                    </a:cubicBezTo>
                    <a:cubicBezTo>
                      <a:pt x="0" y="569"/>
                      <a:pt x="11" y="579"/>
                      <a:pt x="25" y="579"/>
                    </a:cubicBezTo>
                    <a:cubicBezTo>
                      <a:pt x="25" y="579"/>
                      <a:pt x="25" y="579"/>
                      <a:pt x="311" y="579"/>
                    </a:cubicBezTo>
                    <a:cubicBezTo>
                      <a:pt x="311" y="579"/>
                      <a:pt x="311" y="579"/>
                      <a:pt x="311" y="701"/>
                    </a:cubicBezTo>
                    <a:cubicBezTo>
                      <a:pt x="311" y="722"/>
                      <a:pt x="311" y="746"/>
                      <a:pt x="311" y="774"/>
                    </a:cubicBezTo>
                    <a:cubicBezTo>
                      <a:pt x="311" y="785"/>
                      <a:pt x="311" y="785"/>
                      <a:pt x="311" y="785"/>
                    </a:cubicBezTo>
                    <a:cubicBezTo>
                      <a:pt x="488" y="794"/>
                      <a:pt x="488" y="794"/>
                      <a:pt x="488" y="794"/>
                    </a:cubicBezTo>
                    <a:cubicBezTo>
                      <a:pt x="525" y="796"/>
                      <a:pt x="558" y="811"/>
                      <a:pt x="583" y="833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3" y="787"/>
                      <a:pt x="583" y="787"/>
                      <a:pt x="583" y="579"/>
                    </a:cubicBezTo>
                    <a:cubicBezTo>
                      <a:pt x="583" y="579"/>
                      <a:pt x="583" y="579"/>
                      <a:pt x="869" y="579"/>
                    </a:cubicBezTo>
                    <a:cubicBezTo>
                      <a:pt x="883" y="579"/>
                      <a:pt x="894" y="569"/>
                      <a:pt x="894" y="555"/>
                    </a:cubicBezTo>
                    <a:cubicBezTo>
                      <a:pt x="894" y="555"/>
                      <a:pt x="894" y="555"/>
                      <a:pt x="894" y="336"/>
                    </a:cubicBezTo>
                    <a:cubicBezTo>
                      <a:pt x="894" y="322"/>
                      <a:pt x="883" y="310"/>
                      <a:pt x="869" y="31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6729413" y="3465513"/>
                <a:ext cx="1123838" cy="541338"/>
              </a:xfrm>
              <a:custGeom>
                <a:avLst/>
                <a:gdLst>
                  <a:gd name="connsiteX0" fmla="*/ 409739 w 1123838"/>
                  <a:gd name="connsiteY0" fmla="*/ 31591 h 541338"/>
                  <a:gd name="connsiteX1" fmla="*/ 326138 w 1123838"/>
                  <a:gd name="connsiteY1" fmla="*/ 51601 h 541338"/>
                  <a:gd name="connsiteX2" fmla="*/ 31750 w 1123838"/>
                  <a:gd name="connsiteY2" fmla="*/ 218820 h 541338"/>
                  <a:gd name="connsiteX3" fmla="*/ 31750 w 1123838"/>
                  <a:gd name="connsiteY3" fmla="*/ 503237 h 541338"/>
                  <a:gd name="connsiteX4" fmla="*/ 368296 w 1123838"/>
                  <a:gd name="connsiteY4" fmla="*/ 373177 h 541338"/>
                  <a:gd name="connsiteX5" fmla="*/ 419028 w 1123838"/>
                  <a:gd name="connsiteY5" fmla="*/ 365316 h 541338"/>
                  <a:gd name="connsiteX6" fmla="*/ 568366 w 1123838"/>
                  <a:gd name="connsiteY6" fmla="*/ 376036 h 541338"/>
                  <a:gd name="connsiteX7" fmla="*/ 797017 w 1123838"/>
                  <a:gd name="connsiteY7" fmla="*/ 349595 h 541338"/>
                  <a:gd name="connsiteX8" fmla="*/ 1047818 w 1123838"/>
                  <a:gd name="connsiteY8" fmla="*/ 183090 h 541338"/>
                  <a:gd name="connsiteX9" fmla="*/ 1079972 w 1123838"/>
                  <a:gd name="connsiteY9" fmla="*/ 145930 h 541338"/>
                  <a:gd name="connsiteX10" fmla="*/ 1074971 w 1123838"/>
                  <a:gd name="connsiteY10" fmla="*/ 71610 h 541338"/>
                  <a:gd name="connsiteX11" fmla="*/ 1036386 w 1123838"/>
                  <a:gd name="connsiteY11" fmla="*/ 58032 h 541338"/>
                  <a:gd name="connsiteX12" fmla="*/ 999230 w 1123838"/>
                  <a:gd name="connsiteY12" fmla="*/ 75897 h 541338"/>
                  <a:gd name="connsiteX13" fmla="*/ 951356 w 1123838"/>
                  <a:gd name="connsiteY13" fmla="*/ 129494 h 541338"/>
                  <a:gd name="connsiteX14" fmla="*/ 805591 w 1123838"/>
                  <a:gd name="connsiteY14" fmla="*/ 220964 h 541338"/>
                  <a:gd name="connsiteX15" fmla="*/ 608380 w 1123838"/>
                  <a:gd name="connsiteY15" fmla="*/ 210245 h 541338"/>
                  <a:gd name="connsiteX16" fmla="*/ 553360 w 1123838"/>
                  <a:gd name="connsiteY16" fmla="*/ 188092 h 541338"/>
                  <a:gd name="connsiteX17" fmla="*/ 544071 w 1123838"/>
                  <a:gd name="connsiteY17" fmla="*/ 171656 h 541338"/>
                  <a:gd name="connsiteX18" fmla="*/ 557648 w 1123838"/>
                  <a:gd name="connsiteY18" fmla="*/ 158078 h 541338"/>
                  <a:gd name="connsiteX19" fmla="*/ 715560 w 1123838"/>
                  <a:gd name="connsiteY19" fmla="*/ 142357 h 541338"/>
                  <a:gd name="connsiteX20" fmla="*/ 759146 w 1123838"/>
                  <a:gd name="connsiteY20" fmla="*/ 95192 h 541338"/>
                  <a:gd name="connsiteX21" fmla="*/ 713416 w 1123838"/>
                  <a:gd name="connsiteY21" fmla="*/ 47313 h 541338"/>
                  <a:gd name="connsiteX22" fmla="*/ 409739 w 1123838"/>
                  <a:gd name="connsiteY22" fmla="*/ 31591 h 541338"/>
                  <a:gd name="connsiteX23" fmla="*/ 390213 w 1123838"/>
                  <a:gd name="connsiteY23" fmla="*/ 0 h 541338"/>
                  <a:gd name="connsiteX24" fmla="*/ 393786 w 1123838"/>
                  <a:gd name="connsiteY24" fmla="*/ 0 h 541338"/>
                  <a:gd name="connsiteX25" fmla="*/ 396645 w 1123838"/>
                  <a:gd name="connsiteY25" fmla="*/ 0 h 541338"/>
                  <a:gd name="connsiteX26" fmla="*/ 399504 w 1123838"/>
                  <a:gd name="connsiteY26" fmla="*/ 0 h 541338"/>
                  <a:gd name="connsiteX27" fmla="*/ 403077 w 1123838"/>
                  <a:gd name="connsiteY27" fmla="*/ 0 h 541338"/>
                  <a:gd name="connsiteX28" fmla="*/ 410939 w 1123838"/>
                  <a:gd name="connsiteY28" fmla="*/ 0 h 541338"/>
                  <a:gd name="connsiteX29" fmla="*/ 715390 w 1123838"/>
                  <a:gd name="connsiteY29" fmla="*/ 15712 h 541338"/>
                  <a:gd name="connsiteX30" fmla="*/ 780426 w 1123838"/>
                  <a:gd name="connsiteY30" fmla="*/ 56419 h 541338"/>
                  <a:gd name="connsiteX31" fmla="*/ 782570 w 1123838"/>
                  <a:gd name="connsiteY31" fmla="*/ 60704 h 541338"/>
                  <a:gd name="connsiteX32" fmla="*/ 789002 w 1123838"/>
                  <a:gd name="connsiteY32" fmla="*/ 79273 h 541338"/>
                  <a:gd name="connsiteX33" fmla="*/ 790431 w 1123838"/>
                  <a:gd name="connsiteY33" fmla="*/ 94984 h 541338"/>
                  <a:gd name="connsiteX34" fmla="*/ 789716 w 1123838"/>
                  <a:gd name="connsiteY34" fmla="*/ 100698 h 541338"/>
                  <a:gd name="connsiteX35" fmla="*/ 789716 w 1123838"/>
                  <a:gd name="connsiteY35" fmla="*/ 101412 h 541338"/>
                  <a:gd name="connsiteX36" fmla="*/ 789002 w 1123838"/>
                  <a:gd name="connsiteY36" fmla="*/ 107125 h 541338"/>
                  <a:gd name="connsiteX37" fmla="*/ 763988 w 1123838"/>
                  <a:gd name="connsiteY37" fmla="*/ 154260 h 541338"/>
                  <a:gd name="connsiteX38" fmla="*/ 763273 w 1123838"/>
                  <a:gd name="connsiteY38" fmla="*/ 154260 h 541338"/>
                  <a:gd name="connsiteX39" fmla="*/ 758985 w 1123838"/>
                  <a:gd name="connsiteY39" fmla="*/ 157831 h 541338"/>
                  <a:gd name="connsiteX40" fmla="*/ 754697 w 1123838"/>
                  <a:gd name="connsiteY40" fmla="*/ 160688 h 541338"/>
                  <a:gd name="connsiteX41" fmla="*/ 753983 w 1123838"/>
                  <a:gd name="connsiteY41" fmla="*/ 161402 h 541338"/>
                  <a:gd name="connsiteX42" fmla="*/ 749695 w 1123838"/>
                  <a:gd name="connsiteY42" fmla="*/ 164258 h 541338"/>
                  <a:gd name="connsiteX43" fmla="*/ 748265 w 1123838"/>
                  <a:gd name="connsiteY43" fmla="*/ 164973 h 541338"/>
                  <a:gd name="connsiteX44" fmla="*/ 743263 w 1123838"/>
                  <a:gd name="connsiteY44" fmla="*/ 167115 h 541338"/>
                  <a:gd name="connsiteX45" fmla="*/ 742548 w 1123838"/>
                  <a:gd name="connsiteY45" fmla="*/ 167829 h 541338"/>
                  <a:gd name="connsiteX46" fmla="*/ 738260 w 1123838"/>
                  <a:gd name="connsiteY46" fmla="*/ 169258 h 541338"/>
                  <a:gd name="connsiteX47" fmla="*/ 718964 w 1123838"/>
                  <a:gd name="connsiteY47" fmla="*/ 173543 h 541338"/>
                  <a:gd name="connsiteX48" fmla="*/ 624626 w 1123838"/>
                  <a:gd name="connsiteY48" fmla="*/ 182827 h 541338"/>
                  <a:gd name="connsiteX49" fmla="*/ 743263 w 1123838"/>
                  <a:gd name="connsiteY49" fmla="*/ 199967 h 541338"/>
                  <a:gd name="connsiteX50" fmla="*/ 775423 w 1123838"/>
                  <a:gd name="connsiteY50" fmla="*/ 195682 h 541338"/>
                  <a:gd name="connsiteX51" fmla="*/ 785428 w 1123838"/>
                  <a:gd name="connsiteY51" fmla="*/ 193539 h 541338"/>
                  <a:gd name="connsiteX52" fmla="*/ 786858 w 1123838"/>
                  <a:gd name="connsiteY52" fmla="*/ 192825 h 541338"/>
                  <a:gd name="connsiteX53" fmla="*/ 796863 w 1123838"/>
                  <a:gd name="connsiteY53" fmla="*/ 190683 h 541338"/>
                  <a:gd name="connsiteX54" fmla="*/ 826880 w 1123838"/>
                  <a:gd name="connsiteY54" fmla="*/ 179970 h 541338"/>
                  <a:gd name="connsiteX55" fmla="*/ 909782 w 1123838"/>
                  <a:gd name="connsiteY55" fmla="*/ 127122 h 541338"/>
                  <a:gd name="connsiteX56" fmla="*/ 928363 w 1123838"/>
                  <a:gd name="connsiteY56" fmla="*/ 108553 h 541338"/>
                  <a:gd name="connsiteX57" fmla="*/ 975532 w 1123838"/>
                  <a:gd name="connsiteY57" fmla="*/ 54991 h 541338"/>
                  <a:gd name="connsiteX58" fmla="*/ 978391 w 1123838"/>
                  <a:gd name="connsiteY58" fmla="*/ 51420 h 541338"/>
                  <a:gd name="connsiteX59" fmla="*/ 979105 w 1123838"/>
                  <a:gd name="connsiteY59" fmla="*/ 51420 h 541338"/>
                  <a:gd name="connsiteX60" fmla="*/ 1034135 w 1123838"/>
                  <a:gd name="connsiteY60" fmla="*/ 26424 h 541338"/>
                  <a:gd name="connsiteX61" fmla="*/ 1034850 w 1123838"/>
                  <a:gd name="connsiteY61" fmla="*/ 26424 h 541338"/>
                  <a:gd name="connsiteX62" fmla="*/ 1039138 w 1123838"/>
                  <a:gd name="connsiteY62" fmla="*/ 26424 h 541338"/>
                  <a:gd name="connsiteX63" fmla="*/ 1040567 w 1123838"/>
                  <a:gd name="connsiteY63" fmla="*/ 26424 h 541338"/>
                  <a:gd name="connsiteX64" fmla="*/ 1079875 w 1123838"/>
                  <a:gd name="connsiteY64" fmla="*/ 37137 h 541338"/>
                  <a:gd name="connsiteX65" fmla="*/ 1083448 w 1123838"/>
                  <a:gd name="connsiteY65" fmla="*/ 39279 h 541338"/>
                  <a:gd name="connsiteX66" fmla="*/ 1086307 w 1123838"/>
                  <a:gd name="connsiteY66" fmla="*/ 40708 h 541338"/>
                  <a:gd name="connsiteX67" fmla="*/ 1087021 w 1123838"/>
                  <a:gd name="connsiteY67" fmla="*/ 41422 h 541338"/>
                  <a:gd name="connsiteX68" fmla="*/ 1089880 w 1123838"/>
                  <a:gd name="connsiteY68" fmla="*/ 43564 h 541338"/>
                  <a:gd name="connsiteX69" fmla="*/ 1090595 w 1123838"/>
                  <a:gd name="connsiteY69" fmla="*/ 44278 h 541338"/>
                  <a:gd name="connsiteX70" fmla="*/ 1092739 w 1123838"/>
                  <a:gd name="connsiteY70" fmla="*/ 45707 h 541338"/>
                  <a:gd name="connsiteX71" fmla="*/ 1095597 w 1123838"/>
                  <a:gd name="connsiteY71" fmla="*/ 47849 h 541338"/>
                  <a:gd name="connsiteX72" fmla="*/ 1095597 w 1123838"/>
                  <a:gd name="connsiteY72" fmla="*/ 48563 h 541338"/>
                  <a:gd name="connsiteX73" fmla="*/ 1103459 w 1123838"/>
                  <a:gd name="connsiteY73" fmla="*/ 165687 h 541338"/>
                  <a:gd name="connsiteX74" fmla="*/ 1072013 w 1123838"/>
                  <a:gd name="connsiteY74" fmla="*/ 203538 h 541338"/>
                  <a:gd name="connsiteX75" fmla="*/ 966241 w 1123838"/>
                  <a:gd name="connsiteY75" fmla="*/ 299950 h 541338"/>
                  <a:gd name="connsiteX76" fmla="*/ 956950 w 1123838"/>
                  <a:gd name="connsiteY76" fmla="*/ 306377 h 541338"/>
                  <a:gd name="connsiteX77" fmla="*/ 948374 w 1123838"/>
                  <a:gd name="connsiteY77" fmla="*/ 312091 h 541338"/>
                  <a:gd name="connsiteX78" fmla="*/ 806154 w 1123838"/>
                  <a:gd name="connsiteY78" fmla="*/ 379222 h 541338"/>
                  <a:gd name="connsiteX79" fmla="*/ 792575 w 1123838"/>
                  <a:gd name="connsiteY79" fmla="*/ 383507 h 541338"/>
                  <a:gd name="connsiteX80" fmla="*/ 788287 w 1123838"/>
                  <a:gd name="connsiteY80" fmla="*/ 384222 h 541338"/>
                  <a:gd name="connsiteX81" fmla="*/ 779711 w 1123838"/>
                  <a:gd name="connsiteY81" fmla="*/ 387078 h 541338"/>
                  <a:gd name="connsiteX82" fmla="*/ 773994 w 1123838"/>
                  <a:gd name="connsiteY82" fmla="*/ 388507 h 541338"/>
                  <a:gd name="connsiteX83" fmla="*/ 766132 w 1123838"/>
                  <a:gd name="connsiteY83" fmla="*/ 389935 h 541338"/>
                  <a:gd name="connsiteX84" fmla="*/ 759700 w 1123838"/>
                  <a:gd name="connsiteY84" fmla="*/ 392077 h 541338"/>
                  <a:gd name="connsiteX85" fmla="*/ 753983 w 1123838"/>
                  <a:gd name="connsiteY85" fmla="*/ 392792 h 541338"/>
                  <a:gd name="connsiteX86" fmla="*/ 724681 w 1123838"/>
                  <a:gd name="connsiteY86" fmla="*/ 399219 h 541338"/>
                  <a:gd name="connsiteX87" fmla="*/ 721822 w 1123838"/>
                  <a:gd name="connsiteY87" fmla="*/ 399219 h 541338"/>
                  <a:gd name="connsiteX88" fmla="*/ 711102 w 1123838"/>
                  <a:gd name="connsiteY88" fmla="*/ 401362 h 541338"/>
                  <a:gd name="connsiteX89" fmla="*/ 709673 w 1123838"/>
                  <a:gd name="connsiteY89" fmla="*/ 401362 h 541338"/>
                  <a:gd name="connsiteX90" fmla="*/ 650355 w 1123838"/>
                  <a:gd name="connsiteY90" fmla="*/ 407789 h 541338"/>
                  <a:gd name="connsiteX91" fmla="*/ 648211 w 1123838"/>
                  <a:gd name="connsiteY91" fmla="*/ 407789 h 541338"/>
                  <a:gd name="connsiteX92" fmla="*/ 637491 w 1123838"/>
                  <a:gd name="connsiteY92" fmla="*/ 408503 h 541338"/>
                  <a:gd name="connsiteX93" fmla="*/ 635347 w 1123838"/>
                  <a:gd name="connsiteY93" fmla="*/ 408503 h 541338"/>
                  <a:gd name="connsiteX94" fmla="*/ 621053 w 1123838"/>
                  <a:gd name="connsiteY94" fmla="*/ 408503 h 541338"/>
                  <a:gd name="connsiteX95" fmla="*/ 620338 w 1123838"/>
                  <a:gd name="connsiteY95" fmla="*/ 408503 h 541338"/>
                  <a:gd name="connsiteX96" fmla="*/ 612477 w 1123838"/>
                  <a:gd name="connsiteY96" fmla="*/ 408503 h 541338"/>
                  <a:gd name="connsiteX97" fmla="*/ 606045 w 1123838"/>
                  <a:gd name="connsiteY97" fmla="*/ 408503 h 541338"/>
                  <a:gd name="connsiteX98" fmla="*/ 598898 w 1123838"/>
                  <a:gd name="connsiteY98" fmla="*/ 408503 h 541338"/>
                  <a:gd name="connsiteX99" fmla="*/ 592466 w 1123838"/>
                  <a:gd name="connsiteY99" fmla="*/ 408503 h 541338"/>
                  <a:gd name="connsiteX100" fmla="*/ 584605 w 1123838"/>
                  <a:gd name="connsiteY100" fmla="*/ 407789 h 541338"/>
                  <a:gd name="connsiteX101" fmla="*/ 578887 w 1123838"/>
                  <a:gd name="connsiteY101" fmla="*/ 407789 h 541338"/>
                  <a:gd name="connsiteX102" fmla="*/ 566738 w 1123838"/>
                  <a:gd name="connsiteY102" fmla="*/ 407075 h 541338"/>
                  <a:gd name="connsiteX103" fmla="*/ 566023 w 1123838"/>
                  <a:gd name="connsiteY103" fmla="*/ 407075 h 541338"/>
                  <a:gd name="connsiteX104" fmla="*/ 485265 w 1123838"/>
                  <a:gd name="connsiteY104" fmla="*/ 401362 h 541338"/>
                  <a:gd name="connsiteX105" fmla="*/ 416656 w 1123838"/>
                  <a:gd name="connsiteY105" fmla="*/ 396362 h 541338"/>
                  <a:gd name="connsiteX106" fmla="*/ 410939 w 1123838"/>
                  <a:gd name="connsiteY106" fmla="*/ 396362 h 541338"/>
                  <a:gd name="connsiteX107" fmla="*/ 407365 w 1123838"/>
                  <a:gd name="connsiteY107" fmla="*/ 396362 h 541338"/>
                  <a:gd name="connsiteX108" fmla="*/ 393072 w 1123838"/>
                  <a:gd name="connsiteY108" fmla="*/ 397791 h 541338"/>
                  <a:gd name="connsiteX109" fmla="*/ 388784 w 1123838"/>
                  <a:gd name="connsiteY109" fmla="*/ 398505 h 541338"/>
                  <a:gd name="connsiteX110" fmla="*/ 388784 w 1123838"/>
                  <a:gd name="connsiteY110" fmla="*/ 399219 h 541338"/>
                  <a:gd name="connsiteX111" fmla="*/ 384496 w 1123838"/>
                  <a:gd name="connsiteY111" fmla="*/ 399933 h 541338"/>
                  <a:gd name="connsiteX112" fmla="*/ 383781 w 1123838"/>
                  <a:gd name="connsiteY112" fmla="*/ 400647 h 541338"/>
                  <a:gd name="connsiteX113" fmla="*/ 379493 w 1123838"/>
                  <a:gd name="connsiteY113" fmla="*/ 402076 h 541338"/>
                  <a:gd name="connsiteX114" fmla="*/ 21441 w 1123838"/>
                  <a:gd name="connsiteY114" fmla="*/ 540624 h 541338"/>
                  <a:gd name="connsiteX115" fmla="*/ 15723 w 1123838"/>
                  <a:gd name="connsiteY115" fmla="*/ 541338 h 541338"/>
                  <a:gd name="connsiteX116" fmla="*/ 7147 w 1123838"/>
                  <a:gd name="connsiteY116" fmla="*/ 538481 h 541338"/>
                  <a:gd name="connsiteX117" fmla="*/ 0 w 1123838"/>
                  <a:gd name="connsiteY117" fmla="*/ 525626 h 541338"/>
                  <a:gd name="connsiteX118" fmla="*/ 0 w 1123838"/>
                  <a:gd name="connsiteY118" fmla="*/ 209251 h 541338"/>
                  <a:gd name="connsiteX119" fmla="*/ 7862 w 1123838"/>
                  <a:gd name="connsiteY119" fmla="*/ 195682 h 541338"/>
                  <a:gd name="connsiteX120" fmla="*/ 310169 w 1123838"/>
                  <a:gd name="connsiteY120" fmla="*/ 24282 h 541338"/>
                  <a:gd name="connsiteX121" fmla="*/ 315887 w 1123838"/>
                  <a:gd name="connsiteY121" fmla="*/ 21425 h 541338"/>
                  <a:gd name="connsiteX122" fmla="*/ 318031 w 1123838"/>
                  <a:gd name="connsiteY122" fmla="*/ 19997 h 541338"/>
                  <a:gd name="connsiteX123" fmla="*/ 320889 w 1123838"/>
                  <a:gd name="connsiteY123" fmla="*/ 18568 h 541338"/>
                  <a:gd name="connsiteX124" fmla="*/ 324463 w 1123838"/>
                  <a:gd name="connsiteY124" fmla="*/ 17140 h 541338"/>
                  <a:gd name="connsiteX125" fmla="*/ 326607 w 1123838"/>
                  <a:gd name="connsiteY125" fmla="*/ 15712 h 541338"/>
                  <a:gd name="connsiteX126" fmla="*/ 330180 w 1123838"/>
                  <a:gd name="connsiteY126" fmla="*/ 14283 h 541338"/>
                  <a:gd name="connsiteX127" fmla="*/ 332324 w 1123838"/>
                  <a:gd name="connsiteY127" fmla="*/ 13569 h 541338"/>
                  <a:gd name="connsiteX128" fmla="*/ 336612 w 1123838"/>
                  <a:gd name="connsiteY128" fmla="*/ 12141 h 541338"/>
                  <a:gd name="connsiteX129" fmla="*/ 338042 w 1123838"/>
                  <a:gd name="connsiteY129" fmla="*/ 11427 h 541338"/>
                  <a:gd name="connsiteX130" fmla="*/ 342330 w 1123838"/>
                  <a:gd name="connsiteY130" fmla="*/ 9998 h 541338"/>
                  <a:gd name="connsiteX131" fmla="*/ 343044 w 1123838"/>
                  <a:gd name="connsiteY131" fmla="*/ 9284 h 541338"/>
                  <a:gd name="connsiteX132" fmla="*/ 348047 w 1123838"/>
                  <a:gd name="connsiteY132" fmla="*/ 7856 h 541338"/>
                  <a:gd name="connsiteX133" fmla="*/ 348762 w 1123838"/>
                  <a:gd name="connsiteY133" fmla="*/ 7856 h 541338"/>
                  <a:gd name="connsiteX134" fmla="*/ 382352 w 1123838"/>
                  <a:gd name="connsiteY134" fmla="*/ 714 h 541338"/>
                  <a:gd name="connsiteX135" fmla="*/ 383781 w 1123838"/>
                  <a:gd name="connsiteY135" fmla="*/ 714 h 541338"/>
                  <a:gd name="connsiteX136" fmla="*/ 387354 w 1123838"/>
                  <a:gd name="connsiteY136" fmla="*/ 714 h 541338"/>
                  <a:gd name="connsiteX137" fmla="*/ 390213 w 1123838"/>
                  <a:gd name="connsiteY137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1123838" h="541338">
                    <a:moveTo>
                      <a:pt x="409739" y="31591"/>
                    </a:moveTo>
                    <a:cubicBezTo>
                      <a:pt x="380443" y="30162"/>
                      <a:pt x="351147" y="37308"/>
                      <a:pt x="326138" y="51601"/>
                    </a:cubicBezTo>
                    <a:cubicBezTo>
                      <a:pt x="326138" y="51601"/>
                      <a:pt x="326138" y="51601"/>
                      <a:pt x="31750" y="218820"/>
                    </a:cubicBezTo>
                    <a:cubicBezTo>
                      <a:pt x="31750" y="218820"/>
                      <a:pt x="31750" y="218820"/>
                      <a:pt x="31750" y="503237"/>
                    </a:cubicBezTo>
                    <a:cubicBezTo>
                      <a:pt x="31750" y="503237"/>
                      <a:pt x="31750" y="503237"/>
                      <a:pt x="368296" y="373177"/>
                    </a:cubicBezTo>
                    <a:cubicBezTo>
                      <a:pt x="384730" y="366746"/>
                      <a:pt x="401879" y="363887"/>
                      <a:pt x="419028" y="365316"/>
                    </a:cubicBezTo>
                    <a:cubicBezTo>
                      <a:pt x="419028" y="365316"/>
                      <a:pt x="419028" y="365316"/>
                      <a:pt x="568366" y="376036"/>
                    </a:cubicBezTo>
                    <a:cubicBezTo>
                      <a:pt x="645535" y="381753"/>
                      <a:pt x="722705" y="372463"/>
                      <a:pt x="797017" y="349595"/>
                    </a:cubicBezTo>
                    <a:cubicBezTo>
                      <a:pt x="894908" y="318867"/>
                      <a:pt x="981367" y="261697"/>
                      <a:pt x="1047818" y="183090"/>
                    </a:cubicBezTo>
                    <a:cubicBezTo>
                      <a:pt x="1047818" y="183090"/>
                      <a:pt x="1047818" y="183090"/>
                      <a:pt x="1079972" y="145930"/>
                    </a:cubicBezTo>
                    <a:cubicBezTo>
                      <a:pt x="1098550" y="123777"/>
                      <a:pt x="1096407" y="90904"/>
                      <a:pt x="1074971" y="71610"/>
                    </a:cubicBezTo>
                    <a:cubicBezTo>
                      <a:pt x="1064253" y="62320"/>
                      <a:pt x="1050676" y="57317"/>
                      <a:pt x="1036386" y="58032"/>
                    </a:cubicBezTo>
                    <a:cubicBezTo>
                      <a:pt x="1022095" y="58747"/>
                      <a:pt x="1008519" y="65178"/>
                      <a:pt x="999230" y="75897"/>
                    </a:cubicBezTo>
                    <a:cubicBezTo>
                      <a:pt x="999230" y="75897"/>
                      <a:pt x="999230" y="75897"/>
                      <a:pt x="951356" y="129494"/>
                    </a:cubicBezTo>
                    <a:cubicBezTo>
                      <a:pt x="912771" y="173800"/>
                      <a:pt x="862039" y="205243"/>
                      <a:pt x="805591" y="220964"/>
                    </a:cubicBezTo>
                    <a:cubicBezTo>
                      <a:pt x="740568" y="239544"/>
                      <a:pt x="670544" y="235257"/>
                      <a:pt x="608380" y="210245"/>
                    </a:cubicBezTo>
                    <a:cubicBezTo>
                      <a:pt x="608380" y="210245"/>
                      <a:pt x="608380" y="210245"/>
                      <a:pt x="553360" y="188092"/>
                    </a:cubicBezTo>
                    <a:cubicBezTo>
                      <a:pt x="546930" y="185234"/>
                      <a:pt x="542642" y="178802"/>
                      <a:pt x="544071" y="171656"/>
                    </a:cubicBezTo>
                    <a:cubicBezTo>
                      <a:pt x="544786" y="164510"/>
                      <a:pt x="550502" y="158793"/>
                      <a:pt x="557648" y="158078"/>
                    </a:cubicBezTo>
                    <a:cubicBezTo>
                      <a:pt x="557648" y="158078"/>
                      <a:pt x="557648" y="158078"/>
                      <a:pt x="715560" y="142357"/>
                    </a:cubicBezTo>
                    <a:cubicBezTo>
                      <a:pt x="740568" y="140213"/>
                      <a:pt x="759146" y="119489"/>
                      <a:pt x="759146" y="95192"/>
                    </a:cubicBezTo>
                    <a:cubicBezTo>
                      <a:pt x="759146" y="69466"/>
                      <a:pt x="739139" y="48742"/>
                      <a:pt x="713416" y="47313"/>
                    </a:cubicBezTo>
                    <a:cubicBezTo>
                      <a:pt x="713416" y="47313"/>
                      <a:pt x="713416" y="47313"/>
                      <a:pt x="409739" y="31591"/>
                    </a:cubicBezTo>
                    <a:close/>
                    <a:moveTo>
                      <a:pt x="390213" y="0"/>
                    </a:moveTo>
                    <a:cubicBezTo>
                      <a:pt x="391642" y="0"/>
                      <a:pt x="392357" y="0"/>
                      <a:pt x="393786" y="0"/>
                    </a:cubicBezTo>
                    <a:cubicBezTo>
                      <a:pt x="394501" y="0"/>
                      <a:pt x="395930" y="0"/>
                      <a:pt x="396645" y="0"/>
                    </a:cubicBezTo>
                    <a:cubicBezTo>
                      <a:pt x="398074" y="0"/>
                      <a:pt x="398789" y="0"/>
                      <a:pt x="399504" y="0"/>
                    </a:cubicBezTo>
                    <a:cubicBezTo>
                      <a:pt x="400933" y="0"/>
                      <a:pt x="401648" y="0"/>
                      <a:pt x="403077" y="0"/>
                    </a:cubicBezTo>
                    <a:cubicBezTo>
                      <a:pt x="405221" y="0"/>
                      <a:pt x="408080" y="0"/>
                      <a:pt x="410939" y="0"/>
                    </a:cubicBezTo>
                    <a:cubicBezTo>
                      <a:pt x="410939" y="0"/>
                      <a:pt x="410939" y="0"/>
                      <a:pt x="715390" y="15712"/>
                    </a:cubicBezTo>
                    <a:cubicBezTo>
                      <a:pt x="743263" y="17140"/>
                      <a:pt x="766847" y="33566"/>
                      <a:pt x="780426" y="56419"/>
                    </a:cubicBezTo>
                    <a:cubicBezTo>
                      <a:pt x="781140" y="57848"/>
                      <a:pt x="781855" y="59276"/>
                      <a:pt x="782570" y="60704"/>
                    </a:cubicBezTo>
                    <a:cubicBezTo>
                      <a:pt x="785428" y="66418"/>
                      <a:pt x="787572" y="72845"/>
                      <a:pt x="789002" y="79273"/>
                    </a:cubicBezTo>
                    <a:cubicBezTo>
                      <a:pt x="789716" y="84272"/>
                      <a:pt x="790431" y="89271"/>
                      <a:pt x="790431" y="94984"/>
                    </a:cubicBezTo>
                    <a:cubicBezTo>
                      <a:pt x="790431" y="97127"/>
                      <a:pt x="790431" y="98555"/>
                      <a:pt x="789716" y="100698"/>
                    </a:cubicBezTo>
                    <a:cubicBezTo>
                      <a:pt x="789716" y="100698"/>
                      <a:pt x="789716" y="101412"/>
                      <a:pt x="789716" y="101412"/>
                    </a:cubicBezTo>
                    <a:cubicBezTo>
                      <a:pt x="789716" y="103554"/>
                      <a:pt x="789716" y="104983"/>
                      <a:pt x="789002" y="107125"/>
                    </a:cubicBezTo>
                    <a:cubicBezTo>
                      <a:pt x="786143" y="125693"/>
                      <a:pt x="776852" y="142119"/>
                      <a:pt x="763988" y="154260"/>
                    </a:cubicBezTo>
                    <a:cubicBezTo>
                      <a:pt x="763988" y="154260"/>
                      <a:pt x="763273" y="154260"/>
                      <a:pt x="763273" y="154260"/>
                    </a:cubicBezTo>
                    <a:cubicBezTo>
                      <a:pt x="761844" y="155688"/>
                      <a:pt x="760415" y="156403"/>
                      <a:pt x="758985" y="157831"/>
                    </a:cubicBezTo>
                    <a:cubicBezTo>
                      <a:pt x="757556" y="159259"/>
                      <a:pt x="756127" y="159973"/>
                      <a:pt x="754697" y="160688"/>
                    </a:cubicBezTo>
                    <a:cubicBezTo>
                      <a:pt x="753983" y="161402"/>
                      <a:pt x="753983" y="161402"/>
                      <a:pt x="753983" y="161402"/>
                    </a:cubicBezTo>
                    <a:cubicBezTo>
                      <a:pt x="752553" y="162116"/>
                      <a:pt x="751124" y="163544"/>
                      <a:pt x="749695" y="164258"/>
                    </a:cubicBezTo>
                    <a:cubicBezTo>
                      <a:pt x="748980" y="164258"/>
                      <a:pt x="748265" y="164258"/>
                      <a:pt x="748265" y="164973"/>
                    </a:cubicBezTo>
                    <a:cubicBezTo>
                      <a:pt x="746836" y="165687"/>
                      <a:pt x="745407" y="166401"/>
                      <a:pt x="743263" y="167115"/>
                    </a:cubicBezTo>
                    <a:cubicBezTo>
                      <a:pt x="743263" y="167115"/>
                      <a:pt x="742548" y="167115"/>
                      <a:pt x="742548" y="167829"/>
                    </a:cubicBezTo>
                    <a:cubicBezTo>
                      <a:pt x="741118" y="167829"/>
                      <a:pt x="739689" y="168543"/>
                      <a:pt x="738260" y="169258"/>
                    </a:cubicBezTo>
                    <a:cubicBezTo>
                      <a:pt x="731828" y="171400"/>
                      <a:pt x="725396" y="172828"/>
                      <a:pt x="718964" y="173543"/>
                    </a:cubicBezTo>
                    <a:cubicBezTo>
                      <a:pt x="718964" y="173543"/>
                      <a:pt x="718964" y="173543"/>
                      <a:pt x="624626" y="182827"/>
                    </a:cubicBezTo>
                    <a:cubicBezTo>
                      <a:pt x="662504" y="197110"/>
                      <a:pt x="703241" y="202823"/>
                      <a:pt x="743263" y="199967"/>
                    </a:cubicBezTo>
                    <a:cubicBezTo>
                      <a:pt x="753983" y="199253"/>
                      <a:pt x="764703" y="197824"/>
                      <a:pt x="775423" y="195682"/>
                    </a:cubicBezTo>
                    <a:cubicBezTo>
                      <a:pt x="778996" y="194968"/>
                      <a:pt x="781855" y="194253"/>
                      <a:pt x="785428" y="193539"/>
                    </a:cubicBezTo>
                    <a:cubicBezTo>
                      <a:pt x="786143" y="193539"/>
                      <a:pt x="786143" y="193539"/>
                      <a:pt x="786858" y="192825"/>
                    </a:cubicBezTo>
                    <a:cubicBezTo>
                      <a:pt x="790431" y="192111"/>
                      <a:pt x="793290" y="191397"/>
                      <a:pt x="796863" y="190683"/>
                    </a:cubicBezTo>
                    <a:cubicBezTo>
                      <a:pt x="806869" y="187826"/>
                      <a:pt x="816874" y="184255"/>
                      <a:pt x="826880" y="179970"/>
                    </a:cubicBezTo>
                    <a:cubicBezTo>
                      <a:pt x="857611" y="167829"/>
                      <a:pt x="885483" y="149975"/>
                      <a:pt x="909782" y="127122"/>
                    </a:cubicBezTo>
                    <a:cubicBezTo>
                      <a:pt x="916214" y="121408"/>
                      <a:pt x="921931" y="114981"/>
                      <a:pt x="928363" y="108553"/>
                    </a:cubicBezTo>
                    <a:cubicBezTo>
                      <a:pt x="928363" y="108553"/>
                      <a:pt x="928363" y="108553"/>
                      <a:pt x="975532" y="54991"/>
                    </a:cubicBezTo>
                    <a:cubicBezTo>
                      <a:pt x="976961" y="53563"/>
                      <a:pt x="977676" y="52848"/>
                      <a:pt x="978391" y="51420"/>
                    </a:cubicBezTo>
                    <a:cubicBezTo>
                      <a:pt x="979105" y="51420"/>
                      <a:pt x="979105" y="51420"/>
                      <a:pt x="979105" y="51420"/>
                    </a:cubicBezTo>
                    <a:cubicBezTo>
                      <a:pt x="994114" y="36423"/>
                      <a:pt x="1013410" y="27853"/>
                      <a:pt x="1034135" y="26424"/>
                    </a:cubicBezTo>
                    <a:cubicBezTo>
                      <a:pt x="1034850" y="26424"/>
                      <a:pt x="1034850" y="26424"/>
                      <a:pt x="1034850" y="26424"/>
                    </a:cubicBezTo>
                    <a:cubicBezTo>
                      <a:pt x="1036279" y="26424"/>
                      <a:pt x="1037709" y="26424"/>
                      <a:pt x="1039138" y="26424"/>
                    </a:cubicBezTo>
                    <a:cubicBezTo>
                      <a:pt x="1039138" y="26424"/>
                      <a:pt x="1039853" y="26424"/>
                      <a:pt x="1040567" y="26424"/>
                    </a:cubicBezTo>
                    <a:cubicBezTo>
                      <a:pt x="1054146" y="26424"/>
                      <a:pt x="1067725" y="30709"/>
                      <a:pt x="1079875" y="37137"/>
                    </a:cubicBezTo>
                    <a:cubicBezTo>
                      <a:pt x="1081304" y="37851"/>
                      <a:pt x="1082019" y="38565"/>
                      <a:pt x="1083448" y="39279"/>
                    </a:cubicBezTo>
                    <a:cubicBezTo>
                      <a:pt x="1084877" y="39993"/>
                      <a:pt x="1085592" y="40708"/>
                      <a:pt x="1086307" y="40708"/>
                    </a:cubicBezTo>
                    <a:cubicBezTo>
                      <a:pt x="1087021" y="41422"/>
                      <a:pt x="1087021" y="41422"/>
                      <a:pt x="1087021" y="41422"/>
                    </a:cubicBezTo>
                    <a:cubicBezTo>
                      <a:pt x="1087736" y="42136"/>
                      <a:pt x="1089165" y="42850"/>
                      <a:pt x="1089880" y="43564"/>
                    </a:cubicBezTo>
                    <a:cubicBezTo>
                      <a:pt x="1089880" y="43564"/>
                      <a:pt x="1090595" y="44278"/>
                      <a:pt x="1090595" y="44278"/>
                    </a:cubicBezTo>
                    <a:cubicBezTo>
                      <a:pt x="1091309" y="44993"/>
                      <a:pt x="1092024" y="44993"/>
                      <a:pt x="1092739" y="45707"/>
                    </a:cubicBezTo>
                    <a:cubicBezTo>
                      <a:pt x="1093453" y="46421"/>
                      <a:pt x="1094168" y="47135"/>
                      <a:pt x="1095597" y="47849"/>
                    </a:cubicBezTo>
                    <a:cubicBezTo>
                      <a:pt x="1095597" y="47849"/>
                      <a:pt x="1095597" y="48563"/>
                      <a:pt x="1095597" y="48563"/>
                    </a:cubicBezTo>
                    <a:cubicBezTo>
                      <a:pt x="1129902" y="79273"/>
                      <a:pt x="1133475" y="130693"/>
                      <a:pt x="1103459" y="165687"/>
                    </a:cubicBezTo>
                    <a:cubicBezTo>
                      <a:pt x="1103459" y="165687"/>
                      <a:pt x="1103459" y="165687"/>
                      <a:pt x="1072013" y="203538"/>
                    </a:cubicBezTo>
                    <a:cubicBezTo>
                      <a:pt x="1040567" y="239960"/>
                      <a:pt x="1004834" y="272812"/>
                      <a:pt x="966241" y="299950"/>
                    </a:cubicBezTo>
                    <a:cubicBezTo>
                      <a:pt x="963383" y="302092"/>
                      <a:pt x="959809" y="304235"/>
                      <a:pt x="956950" y="306377"/>
                    </a:cubicBezTo>
                    <a:cubicBezTo>
                      <a:pt x="954092" y="308520"/>
                      <a:pt x="951233" y="310662"/>
                      <a:pt x="948374" y="312091"/>
                    </a:cubicBezTo>
                    <a:cubicBezTo>
                      <a:pt x="904779" y="340657"/>
                      <a:pt x="856896" y="363511"/>
                      <a:pt x="806154" y="379222"/>
                    </a:cubicBezTo>
                    <a:cubicBezTo>
                      <a:pt x="801866" y="380651"/>
                      <a:pt x="797578" y="382079"/>
                      <a:pt x="792575" y="383507"/>
                    </a:cubicBezTo>
                    <a:cubicBezTo>
                      <a:pt x="791146" y="383507"/>
                      <a:pt x="789716" y="384222"/>
                      <a:pt x="788287" y="384222"/>
                    </a:cubicBezTo>
                    <a:cubicBezTo>
                      <a:pt x="785428" y="384936"/>
                      <a:pt x="782570" y="386364"/>
                      <a:pt x="779711" y="387078"/>
                    </a:cubicBezTo>
                    <a:cubicBezTo>
                      <a:pt x="777567" y="387078"/>
                      <a:pt x="775423" y="387792"/>
                      <a:pt x="773994" y="388507"/>
                    </a:cubicBezTo>
                    <a:cubicBezTo>
                      <a:pt x="771135" y="389221"/>
                      <a:pt x="768991" y="389221"/>
                      <a:pt x="766132" y="389935"/>
                    </a:cubicBezTo>
                    <a:cubicBezTo>
                      <a:pt x="763988" y="390649"/>
                      <a:pt x="761844" y="391363"/>
                      <a:pt x="759700" y="392077"/>
                    </a:cubicBezTo>
                    <a:cubicBezTo>
                      <a:pt x="757556" y="392077"/>
                      <a:pt x="756127" y="392792"/>
                      <a:pt x="753983" y="392792"/>
                    </a:cubicBezTo>
                    <a:cubicBezTo>
                      <a:pt x="743977" y="394934"/>
                      <a:pt x="733972" y="397077"/>
                      <a:pt x="724681" y="399219"/>
                    </a:cubicBezTo>
                    <a:cubicBezTo>
                      <a:pt x="723252" y="399219"/>
                      <a:pt x="722537" y="399219"/>
                      <a:pt x="721822" y="399219"/>
                    </a:cubicBezTo>
                    <a:cubicBezTo>
                      <a:pt x="718249" y="399933"/>
                      <a:pt x="714676" y="400647"/>
                      <a:pt x="711102" y="401362"/>
                    </a:cubicBezTo>
                    <a:cubicBezTo>
                      <a:pt x="710387" y="401362"/>
                      <a:pt x="710387" y="401362"/>
                      <a:pt x="709673" y="401362"/>
                    </a:cubicBezTo>
                    <a:cubicBezTo>
                      <a:pt x="689662" y="404218"/>
                      <a:pt x="670366" y="406361"/>
                      <a:pt x="650355" y="407789"/>
                    </a:cubicBezTo>
                    <a:cubicBezTo>
                      <a:pt x="649640" y="407789"/>
                      <a:pt x="648925" y="407789"/>
                      <a:pt x="648211" y="407789"/>
                    </a:cubicBezTo>
                    <a:cubicBezTo>
                      <a:pt x="644637" y="407789"/>
                      <a:pt x="641064" y="407789"/>
                      <a:pt x="637491" y="408503"/>
                    </a:cubicBezTo>
                    <a:cubicBezTo>
                      <a:pt x="636776" y="408503"/>
                      <a:pt x="636061" y="408503"/>
                      <a:pt x="635347" y="408503"/>
                    </a:cubicBezTo>
                    <a:cubicBezTo>
                      <a:pt x="630344" y="408503"/>
                      <a:pt x="626056" y="408503"/>
                      <a:pt x="621053" y="408503"/>
                    </a:cubicBezTo>
                    <a:cubicBezTo>
                      <a:pt x="621053" y="408503"/>
                      <a:pt x="620338" y="408503"/>
                      <a:pt x="620338" y="408503"/>
                    </a:cubicBezTo>
                    <a:cubicBezTo>
                      <a:pt x="617480" y="408503"/>
                      <a:pt x="614621" y="408503"/>
                      <a:pt x="612477" y="408503"/>
                    </a:cubicBezTo>
                    <a:cubicBezTo>
                      <a:pt x="610333" y="408503"/>
                      <a:pt x="608189" y="408503"/>
                      <a:pt x="606045" y="408503"/>
                    </a:cubicBezTo>
                    <a:cubicBezTo>
                      <a:pt x="603901" y="408503"/>
                      <a:pt x="601042" y="408503"/>
                      <a:pt x="598898" y="408503"/>
                    </a:cubicBezTo>
                    <a:cubicBezTo>
                      <a:pt x="596754" y="408503"/>
                      <a:pt x="594610" y="408503"/>
                      <a:pt x="592466" y="408503"/>
                    </a:cubicBezTo>
                    <a:cubicBezTo>
                      <a:pt x="589607" y="408503"/>
                      <a:pt x="587463" y="408503"/>
                      <a:pt x="584605" y="407789"/>
                    </a:cubicBezTo>
                    <a:cubicBezTo>
                      <a:pt x="582461" y="407789"/>
                      <a:pt x="581031" y="407789"/>
                      <a:pt x="578887" y="407789"/>
                    </a:cubicBezTo>
                    <a:cubicBezTo>
                      <a:pt x="575314" y="407789"/>
                      <a:pt x="571026" y="407075"/>
                      <a:pt x="566738" y="407075"/>
                    </a:cubicBezTo>
                    <a:cubicBezTo>
                      <a:pt x="566738" y="407075"/>
                      <a:pt x="566023" y="407075"/>
                      <a:pt x="566023" y="407075"/>
                    </a:cubicBezTo>
                    <a:cubicBezTo>
                      <a:pt x="566023" y="407075"/>
                      <a:pt x="566023" y="407075"/>
                      <a:pt x="485265" y="401362"/>
                    </a:cubicBezTo>
                    <a:cubicBezTo>
                      <a:pt x="485265" y="401362"/>
                      <a:pt x="485265" y="401362"/>
                      <a:pt x="416656" y="396362"/>
                    </a:cubicBezTo>
                    <a:cubicBezTo>
                      <a:pt x="415227" y="396362"/>
                      <a:pt x="413083" y="396362"/>
                      <a:pt x="410939" y="396362"/>
                    </a:cubicBezTo>
                    <a:cubicBezTo>
                      <a:pt x="410224" y="396362"/>
                      <a:pt x="408794" y="396362"/>
                      <a:pt x="407365" y="396362"/>
                    </a:cubicBezTo>
                    <a:cubicBezTo>
                      <a:pt x="402362" y="396362"/>
                      <a:pt x="398074" y="397077"/>
                      <a:pt x="393072" y="397791"/>
                    </a:cubicBezTo>
                    <a:cubicBezTo>
                      <a:pt x="391642" y="398505"/>
                      <a:pt x="390213" y="398505"/>
                      <a:pt x="388784" y="398505"/>
                    </a:cubicBezTo>
                    <a:cubicBezTo>
                      <a:pt x="388784" y="399219"/>
                      <a:pt x="388784" y="399219"/>
                      <a:pt x="388784" y="399219"/>
                    </a:cubicBezTo>
                    <a:cubicBezTo>
                      <a:pt x="387354" y="399219"/>
                      <a:pt x="385925" y="399933"/>
                      <a:pt x="384496" y="399933"/>
                    </a:cubicBezTo>
                    <a:cubicBezTo>
                      <a:pt x="384496" y="399933"/>
                      <a:pt x="384496" y="399933"/>
                      <a:pt x="383781" y="400647"/>
                    </a:cubicBezTo>
                    <a:cubicBezTo>
                      <a:pt x="382352" y="400647"/>
                      <a:pt x="380922" y="401362"/>
                      <a:pt x="379493" y="402076"/>
                    </a:cubicBezTo>
                    <a:cubicBezTo>
                      <a:pt x="379493" y="402076"/>
                      <a:pt x="379493" y="402076"/>
                      <a:pt x="21441" y="540624"/>
                    </a:cubicBezTo>
                    <a:cubicBezTo>
                      <a:pt x="20011" y="541338"/>
                      <a:pt x="17867" y="541338"/>
                      <a:pt x="15723" y="541338"/>
                    </a:cubicBezTo>
                    <a:cubicBezTo>
                      <a:pt x="12864" y="541338"/>
                      <a:pt x="10006" y="540624"/>
                      <a:pt x="7147" y="538481"/>
                    </a:cubicBezTo>
                    <a:cubicBezTo>
                      <a:pt x="2859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74" y="198538"/>
                      <a:pt x="7862" y="195682"/>
                    </a:cubicBezTo>
                    <a:cubicBezTo>
                      <a:pt x="7862" y="195682"/>
                      <a:pt x="7862" y="195682"/>
                      <a:pt x="310169" y="24282"/>
                    </a:cubicBezTo>
                    <a:cubicBezTo>
                      <a:pt x="311599" y="22853"/>
                      <a:pt x="313743" y="22139"/>
                      <a:pt x="315887" y="21425"/>
                    </a:cubicBezTo>
                    <a:cubicBezTo>
                      <a:pt x="316601" y="20711"/>
                      <a:pt x="317316" y="20711"/>
                      <a:pt x="318031" y="19997"/>
                    </a:cubicBezTo>
                    <a:cubicBezTo>
                      <a:pt x="318745" y="19283"/>
                      <a:pt x="320175" y="18568"/>
                      <a:pt x="320889" y="18568"/>
                    </a:cubicBezTo>
                    <a:cubicBezTo>
                      <a:pt x="322319" y="17854"/>
                      <a:pt x="323033" y="17140"/>
                      <a:pt x="324463" y="17140"/>
                    </a:cubicBezTo>
                    <a:cubicBezTo>
                      <a:pt x="325177" y="16426"/>
                      <a:pt x="325892" y="16426"/>
                      <a:pt x="326607" y="15712"/>
                    </a:cubicBezTo>
                    <a:cubicBezTo>
                      <a:pt x="328036" y="14998"/>
                      <a:pt x="329466" y="14998"/>
                      <a:pt x="330180" y="14283"/>
                    </a:cubicBezTo>
                    <a:cubicBezTo>
                      <a:pt x="330895" y="14283"/>
                      <a:pt x="331610" y="13569"/>
                      <a:pt x="332324" y="13569"/>
                    </a:cubicBezTo>
                    <a:cubicBezTo>
                      <a:pt x="333754" y="12855"/>
                      <a:pt x="335183" y="12141"/>
                      <a:pt x="336612" y="12141"/>
                    </a:cubicBezTo>
                    <a:cubicBezTo>
                      <a:pt x="336612" y="11427"/>
                      <a:pt x="337327" y="11427"/>
                      <a:pt x="338042" y="11427"/>
                    </a:cubicBezTo>
                    <a:cubicBezTo>
                      <a:pt x="339471" y="10713"/>
                      <a:pt x="340900" y="9998"/>
                      <a:pt x="342330" y="9998"/>
                    </a:cubicBezTo>
                    <a:cubicBezTo>
                      <a:pt x="343044" y="9284"/>
                      <a:pt x="343044" y="9284"/>
                      <a:pt x="343044" y="9284"/>
                    </a:cubicBezTo>
                    <a:cubicBezTo>
                      <a:pt x="345188" y="8570"/>
                      <a:pt x="346618" y="8570"/>
                      <a:pt x="348047" y="7856"/>
                    </a:cubicBezTo>
                    <a:cubicBezTo>
                      <a:pt x="348762" y="7856"/>
                      <a:pt x="348762" y="7856"/>
                      <a:pt x="348762" y="7856"/>
                    </a:cubicBezTo>
                    <a:cubicBezTo>
                      <a:pt x="360197" y="4285"/>
                      <a:pt x="370917" y="2143"/>
                      <a:pt x="382352" y="714"/>
                    </a:cubicBezTo>
                    <a:cubicBezTo>
                      <a:pt x="383066" y="714"/>
                      <a:pt x="383781" y="714"/>
                      <a:pt x="383781" y="714"/>
                    </a:cubicBezTo>
                    <a:cubicBezTo>
                      <a:pt x="385210" y="714"/>
                      <a:pt x="386640" y="714"/>
                      <a:pt x="387354" y="714"/>
                    </a:cubicBezTo>
                    <a:cubicBezTo>
                      <a:pt x="388784" y="714"/>
                      <a:pt x="389498" y="714"/>
                      <a:pt x="3902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5" name="Group 34"/>
          <p:cNvGrpSpPr>
            <a:grpSpLocks noChangeAspect="1"/>
          </p:cNvGrpSpPr>
          <p:nvPr/>
        </p:nvGrpSpPr>
        <p:grpSpPr>
          <a:xfrm>
            <a:off x="8650160" y="3560971"/>
            <a:ext cx="476323" cy="476765"/>
            <a:chOff x="5273801" y="2606040"/>
            <a:chExt cx="1644396" cy="1645920"/>
          </a:xfrm>
        </p:grpSpPr>
        <p:sp>
          <p:nvSpPr>
            <p:cNvPr id="36" name="AutoShape 3">
              <a:extLst>
                <a:ext uri="{FF2B5EF4-FFF2-40B4-BE49-F238E27FC236}">
                  <a16:creationId xmlns:a16="http://schemas.microsoft.com/office/drawing/2014/main" id="{06A46132-4F1C-4E05-BF4A-7A098EC3CC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450966" y="2804541"/>
              <a:ext cx="1288923" cy="1200912"/>
              <a:chOff x="5450966" y="2804541"/>
              <a:chExt cx="1288923" cy="1200912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14B321CC-2A86-4859-807D-0E946B1E59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7671" y="2804541"/>
                <a:ext cx="675132" cy="515874"/>
              </a:xfrm>
              <a:custGeom>
                <a:avLst/>
                <a:gdLst>
                  <a:gd name="T0" fmla="*/ 945 w 946"/>
                  <a:gd name="T1" fmla="*/ 483 h 722"/>
                  <a:gd name="T2" fmla="*/ 473 w 946"/>
                  <a:gd name="T3" fmla="*/ 0 h 722"/>
                  <a:gd name="T4" fmla="*/ 1 w 946"/>
                  <a:gd name="T5" fmla="*/ 483 h 722"/>
                  <a:gd name="T6" fmla="*/ 20 w 946"/>
                  <a:gd name="T7" fmla="*/ 652 h 722"/>
                  <a:gd name="T8" fmla="*/ 20 w 946"/>
                  <a:gd name="T9" fmla="*/ 653 h 722"/>
                  <a:gd name="T10" fmla="*/ 67 w 946"/>
                  <a:gd name="T11" fmla="*/ 713 h 722"/>
                  <a:gd name="T12" fmla="*/ 98 w 946"/>
                  <a:gd name="T13" fmla="*/ 716 h 722"/>
                  <a:gd name="T14" fmla="*/ 214 w 946"/>
                  <a:gd name="T15" fmla="*/ 388 h 722"/>
                  <a:gd name="T16" fmla="*/ 835 w 946"/>
                  <a:gd name="T17" fmla="*/ 366 h 722"/>
                  <a:gd name="T18" fmla="*/ 840 w 946"/>
                  <a:gd name="T19" fmla="*/ 722 h 722"/>
                  <a:gd name="T20" fmla="*/ 874 w 946"/>
                  <a:gd name="T21" fmla="*/ 722 h 722"/>
                  <a:gd name="T22" fmla="*/ 928 w 946"/>
                  <a:gd name="T23" fmla="*/ 646 h 722"/>
                  <a:gd name="T24" fmla="*/ 928 w 946"/>
                  <a:gd name="T25" fmla="*/ 647 h 722"/>
                  <a:gd name="T26" fmla="*/ 945 w 946"/>
                  <a:gd name="T27" fmla="*/ 483 h 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6" h="722">
                    <a:moveTo>
                      <a:pt x="945" y="483"/>
                    </a:moveTo>
                    <a:cubicBezTo>
                      <a:pt x="945" y="216"/>
                      <a:pt x="740" y="0"/>
                      <a:pt x="473" y="0"/>
                    </a:cubicBezTo>
                    <a:cubicBezTo>
                      <a:pt x="206" y="0"/>
                      <a:pt x="1" y="216"/>
                      <a:pt x="1" y="483"/>
                    </a:cubicBezTo>
                    <a:cubicBezTo>
                      <a:pt x="1" y="543"/>
                      <a:pt x="0" y="600"/>
                      <a:pt x="20" y="652"/>
                    </a:cubicBezTo>
                    <a:cubicBezTo>
                      <a:pt x="20" y="652"/>
                      <a:pt x="20" y="653"/>
                      <a:pt x="20" y="653"/>
                    </a:cubicBezTo>
                    <a:cubicBezTo>
                      <a:pt x="67" y="695"/>
                      <a:pt x="67" y="713"/>
                      <a:pt x="67" y="713"/>
                    </a:cubicBezTo>
                    <a:cubicBezTo>
                      <a:pt x="98" y="716"/>
                      <a:pt x="98" y="716"/>
                      <a:pt x="98" y="716"/>
                    </a:cubicBezTo>
                    <a:cubicBezTo>
                      <a:pt x="98" y="716"/>
                      <a:pt x="73" y="431"/>
                      <a:pt x="214" y="388"/>
                    </a:cubicBezTo>
                    <a:cubicBezTo>
                      <a:pt x="214" y="388"/>
                      <a:pt x="782" y="637"/>
                      <a:pt x="835" y="366"/>
                    </a:cubicBezTo>
                    <a:cubicBezTo>
                      <a:pt x="840" y="704"/>
                      <a:pt x="840" y="722"/>
                      <a:pt x="840" y="722"/>
                    </a:cubicBezTo>
                    <a:cubicBezTo>
                      <a:pt x="874" y="722"/>
                      <a:pt x="874" y="722"/>
                      <a:pt x="874" y="722"/>
                    </a:cubicBezTo>
                    <a:cubicBezTo>
                      <a:pt x="919" y="672"/>
                      <a:pt x="926" y="647"/>
                      <a:pt x="928" y="646"/>
                    </a:cubicBezTo>
                    <a:cubicBezTo>
                      <a:pt x="928" y="647"/>
                      <a:pt x="928" y="647"/>
                      <a:pt x="928" y="647"/>
                    </a:cubicBezTo>
                    <a:cubicBezTo>
                      <a:pt x="946" y="596"/>
                      <a:pt x="945" y="541"/>
                      <a:pt x="945" y="48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BFA75786-35B7-479F-B812-D4E3DBB8AF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0966" y="3318891"/>
                <a:ext cx="1288923" cy="686562"/>
              </a:xfrm>
              <a:custGeom>
                <a:avLst/>
                <a:gdLst>
                  <a:gd name="T0" fmla="*/ 773 w 1806"/>
                  <a:gd name="T1" fmla="*/ 961 h 961"/>
                  <a:gd name="T2" fmla="*/ 1281 w 1806"/>
                  <a:gd name="T3" fmla="*/ 552 h 961"/>
                  <a:gd name="T4" fmla="*/ 1243 w 1806"/>
                  <a:gd name="T5" fmla="*/ 808 h 961"/>
                  <a:gd name="T6" fmla="*/ 1428 w 1806"/>
                  <a:gd name="T7" fmla="*/ 819 h 961"/>
                  <a:gd name="T8" fmla="*/ 1324 w 1806"/>
                  <a:gd name="T9" fmla="*/ 555 h 961"/>
                  <a:gd name="T10" fmla="*/ 1801 w 1806"/>
                  <a:gd name="T11" fmla="*/ 931 h 961"/>
                  <a:gd name="T12" fmla="*/ 1290 w 1806"/>
                  <a:gd name="T13" fmla="*/ 808 h 961"/>
                  <a:gd name="T14" fmla="*/ 1381 w 1806"/>
                  <a:gd name="T15" fmla="*/ 808 h 961"/>
                  <a:gd name="T16" fmla="*/ 1290 w 1806"/>
                  <a:gd name="T17" fmla="*/ 808 h 961"/>
                  <a:gd name="T18" fmla="*/ 559 w 1806"/>
                  <a:gd name="T19" fmla="*/ 550 h 961"/>
                  <a:gd name="T20" fmla="*/ 602 w 1806"/>
                  <a:gd name="T21" fmla="*/ 657 h 961"/>
                  <a:gd name="T22" fmla="*/ 631 w 1806"/>
                  <a:gd name="T23" fmla="*/ 901 h 961"/>
                  <a:gd name="T24" fmla="*/ 571 w 1806"/>
                  <a:gd name="T25" fmla="*/ 886 h 961"/>
                  <a:gd name="T26" fmla="*/ 616 w 1806"/>
                  <a:gd name="T27" fmla="*/ 867 h 961"/>
                  <a:gd name="T28" fmla="*/ 511 w 1806"/>
                  <a:gd name="T29" fmla="*/ 648 h 961"/>
                  <a:gd name="T30" fmla="*/ 423 w 1806"/>
                  <a:gd name="T31" fmla="*/ 681 h 961"/>
                  <a:gd name="T32" fmla="*/ 379 w 1806"/>
                  <a:gd name="T33" fmla="*/ 867 h 961"/>
                  <a:gd name="T34" fmla="*/ 380 w 1806"/>
                  <a:gd name="T35" fmla="*/ 901 h 961"/>
                  <a:gd name="T36" fmla="*/ 329 w 1806"/>
                  <a:gd name="T37" fmla="*/ 885 h 961"/>
                  <a:gd name="T38" fmla="*/ 493 w 1806"/>
                  <a:gd name="T39" fmla="*/ 614 h 961"/>
                  <a:gd name="T40" fmla="*/ 223 w 1806"/>
                  <a:gd name="T41" fmla="*/ 614 h 961"/>
                  <a:gd name="T42" fmla="*/ 26 w 1806"/>
                  <a:gd name="T43" fmla="*/ 961 h 961"/>
                  <a:gd name="T44" fmla="*/ 863 w 1806"/>
                  <a:gd name="T45" fmla="*/ 836 h 961"/>
                  <a:gd name="T46" fmla="*/ 1329 w 1806"/>
                  <a:gd name="T47" fmla="*/ 24 h 961"/>
                  <a:gd name="T48" fmla="*/ 1273 w 1806"/>
                  <a:gd name="T49" fmla="*/ 89 h 961"/>
                  <a:gd name="T50" fmla="*/ 903 w 1806"/>
                  <a:gd name="T51" fmla="*/ 504 h 961"/>
                  <a:gd name="T52" fmla="*/ 533 w 1806"/>
                  <a:gd name="T53" fmla="*/ 89 h 961"/>
                  <a:gd name="T54" fmla="*/ 477 w 1806"/>
                  <a:gd name="T55" fmla="*/ 24 h 961"/>
                  <a:gd name="T56" fmla="*/ 426 w 1806"/>
                  <a:gd name="T57" fmla="*/ 5 h 961"/>
                  <a:gd name="T58" fmla="*/ 639 w 1806"/>
                  <a:gd name="T59" fmla="*/ 414 h 961"/>
                  <a:gd name="T60" fmla="*/ 646 w 1806"/>
                  <a:gd name="T61" fmla="*/ 522 h 961"/>
                  <a:gd name="T62" fmla="*/ 683 w 1806"/>
                  <a:gd name="T63" fmla="*/ 451 h 961"/>
                  <a:gd name="T64" fmla="*/ 1123 w 1806"/>
                  <a:gd name="T65" fmla="*/ 451 h 961"/>
                  <a:gd name="T66" fmla="*/ 1160 w 1806"/>
                  <a:gd name="T67" fmla="*/ 522 h 961"/>
                  <a:gd name="T68" fmla="*/ 1167 w 1806"/>
                  <a:gd name="T69" fmla="*/ 414 h 961"/>
                  <a:gd name="T70" fmla="*/ 1380 w 1806"/>
                  <a:gd name="T71" fmla="*/ 3 h 961"/>
                  <a:gd name="T72" fmla="*/ 1329 w 1806"/>
                  <a:gd name="T73" fmla="*/ 24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06" h="961">
                    <a:moveTo>
                      <a:pt x="1780" y="961"/>
                    </a:moveTo>
                    <a:cubicBezTo>
                      <a:pt x="773" y="961"/>
                      <a:pt x="773" y="961"/>
                      <a:pt x="773" y="961"/>
                    </a:cubicBezTo>
                    <a:cubicBezTo>
                      <a:pt x="773" y="961"/>
                      <a:pt x="1231" y="549"/>
                      <a:pt x="1232" y="549"/>
                    </a:cubicBezTo>
                    <a:cubicBezTo>
                      <a:pt x="1246" y="549"/>
                      <a:pt x="1262" y="550"/>
                      <a:pt x="1281" y="552"/>
                    </a:cubicBezTo>
                    <a:cubicBezTo>
                      <a:pt x="1323" y="606"/>
                      <a:pt x="1320" y="709"/>
                      <a:pt x="1320" y="717"/>
                    </a:cubicBezTo>
                    <a:cubicBezTo>
                      <a:pt x="1276" y="724"/>
                      <a:pt x="1243" y="762"/>
                      <a:pt x="1243" y="808"/>
                    </a:cubicBezTo>
                    <a:cubicBezTo>
                      <a:pt x="1243" y="862"/>
                      <a:pt x="1290" y="906"/>
                      <a:pt x="1346" y="900"/>
                    </a:cubicBezTo>
                    <a:cubicBezTo>
                      <a:pt x="1389" y="895"/>
                      <a:pt x="1423" y="861"/>
                      <a:pt x="1428" y="819"/>
                    </a:cubicBezTo>
                    <a:cubicBezTo>
                      <a:pt x="1433" y="769"/>
                      <a:pt x="1400" y="727"/>
                      <a:pt x="1355" y="717"/>
                    </a:cubicBezTo>
                    <a:cubicBezTo>
                      <a:pt x="1355" y="705"/>
                      <a:pt x="1357" y="619"/>
                      <a:pt x="1324" y="555"/>
                    </a:cubicBezTo>
                    <a:cubicBezTo>
                      <a:pt x="1407" y="564"/>
                      <a:pt x="1511" y="580"/>
                      <a:pt x="1583" y="614"/>
                    </a:cubicBezTo>
                    <a:cubicBezTo>
                      <a:pt x="1693" y="664"/>
                      <a:pt x="1773" y="857"/>
                      <a:pt x="1801" y="931"/>
                    </a:cubicBezTo>
                    <a:cubicBezTo>
                      <a:pt x="1806" y="945"/>
                      <a:pt x="1796" y="961"/>
                      <a:pt x="1780" y="961"/>
                    </a:cubicBezTo>
                    <a:close/>
                    <a:moveTo>
                      <a:pt x="1290" y="808"/>
                    </a:moveTo>
                    <a:cubicBezTo>
                      <a:pt x="1290" y="833"/>
                      <a:pt x="1311" y="853"/>
                      <a:pt x="1336" y="853"/>
                    </a:cubicBezTo>
                    <a:cubicBezTo>
                      <a:pt x="1361" y="853"/>
                      <a:pt x="1381" y="833"/>
                      <a:pt x="1381" y="808"/>
                    </a:cubicBezTo>
                    <a:cubicBezTo>
                      <a:pt x="1381" y="783"/>
                      <a:pt x="1361" y="762"/>
                      <a:pt x="1336" y="762"/>
                    </a:cubicBezTo>
                    <a:cubicBezTo>
                      <a:pt x="1311" y="762"/>
                      <a:pt x="1290" y="783"/>
                      <a:pt x="1290" y="808"/>
                    </a:cubicBezTo>
                    <a:close/>
                    <a:moveTo>
                      <a:pt x="611" y="548"/>
                    </a:moveTo>
                    <a:cubicBezTo>
                      <a:pt x="611" y="548"/>
                      <a:pt x="591" y="548"/>
                      <a:pt x="559" y="550"/>
                    </a:cubicBezTo>
                    <a:cubicBezTo>
                      <a:pt x="546" y="565"/>
                      <a:pt x="536" y="587"/>
                      <a:pt x="529" y="616"/>
                    </a:cubicBezTo>
                    <a:cubicBezTo>
                      <a:pt x="558" y="621"/>
                      <a:pt x="583" y="634"/>
                      <a:pt x="602" y="657"/>
                    </a:cubicBezTo>
                    <a:cubicBezTo>
                      <a:pt x="668" y="732"/>
                      <a:pt x="650" y="880"/>
                      <a:pt x="649" y="886"/>
                    </a:cubicBezTo>
                    <a:cubicBezTo>
                      <a:pt x="648" y="895"/>
                      <a:pt x="640" y="901"/>
                      <a:pt x="631" y="901"/>
                    </a:cubicBezTo>
                    <a:cubicBezTo>
                      <a:pt x="589" y="901"/>
                      <a:pt x="589" y="901"/>
                      <a:pt x="589" y="901"/>
                    </a:cubicBezTo>
                    <a:cubicBezTo>
                      <a:pt x="580" y="901"/>
                      <a:pt x="571" y="895"/>
                      <a:pt x="571" y="886"/>
                    </a:cubicBezTo>
                    <a:cubicBezTo>
                      <a:pt x="570" y="875"/>
                      <a:pt x="578" y="867"/>
                      <a:pt x="588" y="867"/>
                    </a:cubicBezTo>
                    <a:cubicBezTo>
                      <a:pt x="616" y="867"/>
                      <a:pt x="616" y="867"/>
                      <a:pt x="616" y="867"/>
                    </a:cubicBezTo>
                    <a:cubicBezTo>
                      <a:pt x="618" y="829"/>
                      <a:pt x="621" y="731"/>
                      <a:pt x="576" y="680"/>
                    </a:cubicBezTo>
                    <a:cubicBezTo>
                      <a:pt x="559" y="661"/>
                      <a:pt x="538" y="650"/>
                      <a:pt x="511" y="648"/>
                    </a:cubicBezTo>
                    <a:cubicBezTo>
                      <a:pt x="506" y="648"/>
                      <a:pt x="502" y="648"/>
                      <a:pt x="502" y="648"/>
                    </a:cubicBezTo>
                    <a:cubicBezTo>
                      <a:pt x="470" y="648"/>
                      <a:pt x="444" y="659"/>
                      <a:pt x="423" y="681"/>
                    </a:cubicBezTo>
                    <a:cubicBezTo>
                      <a:pt x="373" y="732"/>
                      <a:pt x="365" y="828"/>
                      <a:pt x="364" y="867"/>
                    </a:cubicBezTo>
                    <a:cubicBezTo>
                      <a:pt x="379" y="867"/>
                      <a:pt x="379" y="867"/>
                      <a:pt x="379" y="867"/>
                    </a:cubicBezTo>
                    <a:cubicBezTo>
                      <a:pt x="388" y="867"/>
                      <a:pt x="396" y="873"/>
                      <a:pt x="397" y="882"/>
                    </a:cubicBezTo>
                    <a:cubicBezTo>
                      <a:pt x="398" y="893"/>
                      <a:pt x="390" y="901"/>
                      <a:pt x="380" y="901"/>
                    </a:cubicBezTo>
                    <a:cubicBezTo>
                      <a:pt x="347" y="901"/>
                      <a:pt x="347" y="901"/>
                      <a:pt x="347" y="901"/>
                    </a:cubicBezTo>
                    <a:cubicBezTo>
                      <a:pt x="337" y="901"/>
                      <a:pt x="329" y="894"/>
                      <a:pt x="329" y="885"/>
                    </a:cubicBezTo>
                    <a:cubicBezTo>
                      <a:pt x="329" y="878"/>
                      <a:pt x="325" y="732"/>
                      <a:pt x="398" y="656"/>
                    </a:cubicBezTo>
                    <a:cubicBezTo>
                      <a:pt x="423" y="630"/>
                      <a:pt x="456" y="615"/>
                      <a:pt x="493" y="614"/>
                    </a:cubicBezTo>
                    <a:cubicBezTo>
                      <a:pt x="499" y="590"/>
                      <a:pt x="506" y="570"/>
                      <a:pt x="516" y="552"/>
                    </a:cubicBezTo>
                    <a:cubicBezTo>
                      <a:pt x="430" y="559"/>
                      <a:pt x="305" y="575"/>
                      <a:pt x="223" y="614"/>
                    </a:cubicBezTo>
                    <a:cubicBezTo>
                      <a:pt x="113" y="664"/>
                      <a:pt x="33" y="857"/>
                      <a:pt x="5" y="931"/>
                    </a:cubicBezTo>
                    <a:cubicBezTo>
                      <a:pt x="0" y="945"/>
                      <a:pt x="10" y="961"/>
                      <a:pt x="26" y="961"/>
                    </a:cubicBezTo>
                    <a:cubicBezTo>
                      <a:pt x="722" y="961"/>
                      <a:pt x="722" y="961"/>
                      <a:pt x="722" y="961"/>
                    </a:cubicBezTo>
                    <a:cubicBezTo>
                      <a:pt x="863" y="836"/>
                      <a:pt x="863" y="836"/>
                      <a:pt x="863" y="836"/>
                    </a:cubicBezTo>
                    <a:lnTo>
                      <a:pt x="611" y="548"/>
                    </a:lnTo>
                    <a:close/>
                    <a:moveTo>
                      <a:pt x="1329" y="24"/>
                    </a:moveTo>
                    <a:cubicBezTo>
                      <a:pt x="1322" y="43"/>
                      <a:pt x="1308" y="65"/>
                      <a:pt x="1283" y="77"/>
                    </a:cubicBezTo>
                    <a:cubicBezTo>
                      <a:pt x="1278" y="80"/>
                      <a:pt x="1274" y="84"/>
                      <a:pt x="1273" y="89"/>
                    </a:cubicBezTo>
                    <a:cubicBezTo>
                      <a:pt x="1232" y="192"/>
                      <a:pt x="1157" y="365"/>
                      <a:pt x="1129" y="391"/>
                    </a:cubicBezTo>
                    <a:cubicBezTo>
                      <a:pt x="1084" y="430"/>
                      <a:pt x="968" y="504"/>
                      <a:pt x="903" y="504"/>
                    </a:cubicBezTo>
                    <a:cubicBezTo>
                      <a:pt x="838" y="504"/>
                      <a:pt x="722" y="430"/>
                      <a:pt x="677" y="391"/>
                    </a:cubicBezTo>
                    <a:cubicBezTo>
                      <a:pt x="649" y="365"/>
                      <a:pt x="574" y="192"/>
                      <a:pt x="533" y="89"/>
                    </a:cubicBezTo>
                    <a:cubicBezTo>
                      <a:pt x="532" y="84"/>
                      <a:pt x="528" y="80"/>
                      <a:pt x="523" y="77"/>
                    </a:cubicBezTo>
                    <a:cubicBezTo>
                      <a:pt x="498" y="65"/>
                      <a:pt x="484" y="43"/>
                      <a:pt x="477" y="24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2"/>
                      <a:pt x="426" y="4"/>
                      <a:pt x="426" y="5"/>
                    </a:cubicBezTo>
                    <a:cubicBezTo>
                      <a:pt x="431" y="33"/>
                      <a:pt x="446" y="83"/>
                      <a:pt x="495" y="112"/>
                    </a:cubicBezTo>
                    <a:cubicBezTo>
                      <a:pt x="517" y="168"/>
                      <a:pt x="594" y="359"/>
                      <a:pt x="639" y="414"/>
                    </a:cubicBezTo>
                    <a:cubicBezTo>
                      <a:pt x="639" y="512"/>
                      <a:pt x="639" y="512"/>
                      <a:pt x="639" y="512"/>
                    </a:cubicBezTo>
                    <a:cubicBezTo>
                      <a:pt x="646" y="522"/>
                      <a:pt x="646" y="522"/>
                      <a:pt x="646" y="522"/>
                    </a:cubicBezTo>
                    <a:cubicBezTo>
                      <a:pt x="648" y="524"/>
                      <a:pt x="660" y="540"/>
                      <a:pt x="683" y="560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742" y="494"/>
                      <a:pt x="838" y="548"/>
                      <a:pt x="903" y="548"/>
                    </a:cubicBezTo>
                    <a:cubicBezTo>
                      <a:pt x="968" y="548"/>
                      <a:pt x="1064" y="494"/>
                      <a:pt x="1123" y="451"/>
                    </a:cubicBezTo>
                    <a:cubicBezTo>
                      <a:pt x="1123" y="560"/>
                      <a:pt x="1123" y="560"/>
                      <a:pt x="1123" y="560"/>
                    </a:cubicBezTo>
                    <a:cubicBezTo>
                      <a:pt x="1146" y="540"/>
                      <a:pt x="1158" y="524"/>
                      <a:pt x="1160" y="522"/>
                    </a:cubicBezTo>
                    <a:cubicBezTo>
                      <a:pt x="1167" y="512"/>
                      <a:pt x="1167" y="512"/>
                      <a:pt x="1167" y="512"/>
                    </a:cubicBezTo>
                    <a:cubicBezTo>
                      <a:pt x="1167" y="414"/>
                      <a:pt x="1167" y="414"/>
                      <a:pt x="1167" y="414"/>
                    </a:cubicBezTo>
                    <a:cubicBezTo>
                      <a:pt x="1212" y="358"/>
                      <a:pt x="1289" y="168"/>
                      <a:pt x="1311" y="112"/>
                    </a:cubicBezTo>
                    <a:cubicBezTo>
                      <a:pt x="1363" y="82"/>
                      <a:pt x="1377" y="26"/>
                      <a:pt x="1380" y="3"/>
                    </a:cubicBezTo>
                    <a:cubicBezTo>
                      <a:pt x="1380" y="2"/>
                      <a:pt x="1380" y="1"/>
                      <a:pt x="1380" y="0"/>
                    </a:cubicBezTo>
                    <a:lnTo>
                      <a:pt x="1329" y="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06849" name="Group 206848"/>
          <p:cNvGrpSpPr/>
          <p:nvPr/>
        </p:nvGrpSpPr>
        <p:grpSpPr>
          <a:xfrm>
            <a:off x="3180647" y="2461681"/>
            <a:ext cx="7166712" cy="225795"/>
            <a:chOff x="3457952" y="2691710"/>
            <a:chExt cx="6845507" cy="225795"/>
          </a:xfrm>
        </p:grpSpPr>
        <p:pic>
          <p:nvPicPr>
            <p:cNvPr id="43" name="flag_europeanunion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457952" y="2691710"/>
              <a:ext cx="338904" cy="225795"/>
            </a:xfrm>
            <a:prstGeom prst="rect">
              <a:avLst/>
            </a:prstGeom>
            <a:noFill/>
          </p:spPr>
        </p:pic>
        <p:pic>
          <p:nvPicPr>
            <p:cNvPr id="45" name="flag_canada"/>
            <p:cNvPicPr>
              <a:picLocks noChangeAspect="1"/>
            </p:cNvPicPr>
            <p:nvPr/>
          </p:nvPicPr>
          <p:blipFill>
            <a:blip r:embed="rId9"/>
            <a:srcRect t="2849" b="3088"/>
            <a:stretch>
              <a:fillRect/>
            </a:stretch>
          </p:blipFill>
          <p:spPr>
            <a:xfrm>
              <a:off x="4271412" y="2691710"/>
              <a:ext cx="338693" cy="225795"/>
            </a:xfrm>
            <a:prstGeom prst="rect">
              <a:avLst/>
            </a:prstGeom>
            <a:ln w="3175">
              <a:noFill/>
            </a:ln>
          </p:spPr>
        </p:pic>
        <p:pic>
          <p:nvPicPr>
            <p:cNvPr id="47" name="flag_france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5084660" y="2691710"/>
              <a:ext cx="338905" cy="225795"/>
            </a:xfrm>
            <a:prstGeom prst="rect">
              <a:avLst/>
            </a:prstGeom>
            <a:noFill/>
            <a:ln w="3175">
              <a:noFill/>
            </a:ln>
          </p:spPr>
        </p:pic>
        <p:pic>
          <p:nvPicPr>
            <p:cNvPr id="49" name="flag_italy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6711369" y="2691710"/>
              <a:ext cx="338905" cy="225795"/>
            </a:xfrm>
            <a:prstGeom prst="rect">
              <a:avLst/>
            </a:prstGeom>
            <a:noFill/>
            <a:ln w="3175">
              <a:noFill/>
            </a:ln>
          </p:spPr>
        </p:pic>
        <p:pic>
          <p:nvPicPr>
            <p:cNvPr id="51" name="flag_germany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5898121" y="2691710"/>
              <a:ext cx="338693" cy="2257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" name="flag_japan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7524852" y="2691710"/>
              <a:ext cx="338905" cy="225795"/>
            </a:xfrm>
            <a:prstGeom prst="rect">
              <a:avLst/>
            </a:prstGeom>
            <a:noFill/>
            <a:ln w="3175">
              <a:noFill/>
            </a:ln>
          </p:spPr>
        </p:pic>
        <p:pic>
          <p:nvPicPr>
            <p:cNvPr id="55" name="flag_norway"/>
            <p:cNvPicPr>
              <a:picLocks noChangeAspect="1" noChangeArrowheads="1"/>
            </p:cNvPicPr>
            <p:nvPr/>
          </p:nvPicPr>
          <p:blipFill>
            <a:blip r:embed="rId14"/>
            <a:srcRect t="4141" b="4220"/>
            <a:stretch>
              <a:fillRect/>
            </a:stretch>
          </p:blipFill>
          <p:spPr bwMode="auto">
            <a:xfrm>
              <a:off x="8338313" y="2691710"/>
              <a:ext cx="338693" cy="2257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7" name="flag_spain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9151539" y="2691710"/>
              <a:ext cx="338693" cy="2257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" name="flag_unitedkingdom"/>
            <p:cNvPicPr>
              <a:picLocks noChangeAspect="1" noChangeArrowheads="1"/>
            </p:cNvPicPr>
            <p:nvPr/>
          </p:nvPicPr>
          <p:blipFill>
            <a:blip r:embed="rId16"/>
            <a:srcRect l="6969" r="7155"/>
            <a:stretch>
              <a:fillRect/>
            </a:stretch>
          </p:blipFill>
          <p:spPr bwMode="auto">
            <a:xfrm>
              <a:off x="9964766" y="2691710"/>
              <a:ext cx="338693" cy="22579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8" name="Group 87"/>
          <p:cNvGrpSpPr/>
          <p:nvPr/>
        </p:nvGrpSpPr>
        <p:grpSpPr>
          <a:xfrm>
            <a:off x="4439880" y="2791031"/>
            <a:ext cx="4756276" cy="244514"/>
            <a:chOff x="4018965" y="2887484"/>
            <a:chExt cx="4543104" cy="244514"/>
          </a:xfrm>
        </p:grpSpPr>
        <p:pic>
          <p:nvPicPr>
            <p:cNvPr id="206861" name="Picture 13" descr="File:World Health Organization Logo.svg"/>
            <p:cNvPicPr>
              <a:picLocks noChangeAspect="1" noChangeArrowheads="1"/>
            </p:cNvPicPr>
            <p:nvPr/>
          </p:nvPicPr>
          <p:blipFill>
            <a:blip r:embed="rId17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8965" y="2887484"/>
              <a:ext cx="797395" cy="2445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863" name="Picture 15" descr="Bill &amp; Melinda Gates Foundation logo.svg"/>
            <p:cNvPicPr>
              <a:picLocks noChangeAspect="1" noChangeArrowheads="1"/>
            </p:cNvPicPr>
            <p:nvPr/>
          </p:nvPicPr>
          <p:blipFill>
            <a:blip r:embed="rId18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0438" y="2887484"/>
              <a:ext cx="1209965" cy="2445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865" name="Picture 17" descr="World Economic Forum logo.sv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481" y="2887484"/>
              <a:ext cx="395674" cy="2445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0E196C97-64C7-4DC7-80C2-1EAAE5A0B9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/>
            <a:srcRect l="80880" t="24115" r="13873" b="71526"/>
            <a:stretch/>
          </p:blipFill>
          <p:spPr>
            <a:xfrm>
              <a:off x="8354233" y="2887484"/>
              <a:ext cx="207836" cy="244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" name="Rectangle 6"/>
          <p:cNvSpPr/>
          <p:nvPr/>
        </p:nvSpPr>
        <p:spPr>
          <a:xfrm>
            <a:off x="2864518" y="3630076"/>
            <a:ext cx="2367102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>
                <a:solidFill>
                  <a:srgbClr val="F79646"/>
                </a:solidFill>
              </a:rPr>
              <a:t>Vaccine partnership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998949" y="3630076"/>
            <a:ext cx="2367102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Therapeutics partnership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133378" y="3630076"/>
            <a:ext cx="2367102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Diagnostics partnershi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420431" y="3542161"/>
            <a:ext cx="3008345" cy="239191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554860" y="3542161"/>
            <a:ext cx="3008345" cy="239191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348726" y="4138779"/>
            <a:ext cx="2882894" cy="363176"/>
          </a:xfrm>
          <a:prstGeom prst="rect">
            <a:avLst/>
          </a:prstGeom>
          <a:solidFill>
            <a:srgbClr val="F7964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CEPI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483157" y="4138779"/>
            <a:ext cx="2882894" cy="363176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Therapeutics Accelerator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617586" y="4138779"/>
            <a:ext cx="2882894" cy="363176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Find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348726" y="5096613"/>
            <a:ext cx="2882894" cy="363176"/>
          </a:xfrm>
          <a:prstGeom prst="rect">
            <a:avLst/>
          </a:prstGeom>
          <a:solidFill>
            <a:srgbClr val="F7964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Gavi, the vaccine Alliance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483157" y="5096613"/>
            <a:ext cx="2882894" cy="363176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UNITAID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617586" y="5096613"/>
            <a:ext cx="2882894" cy="363176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Global Fund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</a:rPr>
              <a:t>(co-convenor)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348726" y="4540751"/>
            <a:ext cx="9151755" cy="517065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WHO</a:t>
            </a:r>
            <a:endParaRPr lang="en-US" sz="1000" b="1" dirty="0">
              <a:solidFill>
                <a:schemeClr val="accent1"/>
              </a:solidFill>
            </a:endParaRPr>
          </a:p>
          <a:p>
            <a:pPr algn="ctr"/>
            <a:r>
              <a:rPr lang="en-US" sz="1000" dirty="0">
                <a:solidFill>
                  <a:schemeClr val="accent2"/>
                </a:solidFill>
              </a:rPr>
              <a:t>lead on product allocation</a:t>
            </a:r>
          </a:p>
          <a:p>
            <a:pPr algn="ctr"/>
            <a:r>
              <a:rPr lang="en-US" sz="1000" dirty="0">
                <a:solidFill>
                  <a:schemeClr val="accent2"/>
                </a:solidFill>
              </a:rPr>
              <a:t>Research ● Industry ● Foundations ● Funders international organizations ● Regulator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2286001" y="6010255"/>
            <a:ext cx="9277350" cy="24982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Transversal Health Systems Working Group</a:t>
            </a:r>
          </a:p>
        </p:txBody>
      </p:sp>
      <p:cxnSp>
        <p:nvCxnSpPr>
          <p:cNvPr id="68" name="Straight Arrow Connector 67"/>
          <p:cNvCxnSpPr/>
          <p:nvPr/>
        </p:nvCxnSpPr>
        <p:spPr>
          <a:xfrm>
            <a:off x="759284" y="4183672"/>
            <a:ext cx="0" cy="22326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759284" y="4676621"/>
            <a:ext cx="0" cy="22326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9284" y="5169570"/>
            <a:ext cx="0" cy="22326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>
            <a:grpSpLocks/>
          </p:cNvGrpSpPr>
          <p:nvPr/>
        </p:nvGrpSpPr>
        <p:grpSpPr>
          <a:xfrm>
            <a:off x="544135" y="3833681"/>
            <a:ext cx="430298" cy="430298"/>
            <a:chOff x="754813" y="3481330"/>
            <a:chExt cx="537872" cy="537872"/>
          </a:xfrm>
        </p:grpSpPr>
        <p:sp>
          <p:nvSpPr>
            <p:cNvPr id="66" name="Oval 65"/>
            <p:cNvSpPr/>
            <p:nvPr/>
          </p:nvSpPr>
          <p:spPr>
            <a:xfrm>
              <a:off x="754813" y="3481330"/>
              <a:ext cx="537872" cy="537872"/>
            </a:xfrm>
            <a:prstGeom prst="ellipse">
              <a:avLst/>
            </a:prstGeom>
            <a:noFill/>
            <a:ln w="15240" cap="rnd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82" name="Group 81"/>
            <p:cNvGrpSpPr>
              <a:grpSpLocks noChangeAspect="1"/>
            </p:cNvGrpSpPr>
            <p:nvPr/>
          </p:nvGrpSpPr>
          <p:grpSpPr>
            <a:xfrm>
              <a:off x="844787" y="3571304"/>
              <a:ext cx="357923" cy="357923"/>
              <a:chOff x="5273675" y="2606675"/>
              <a:chExt cx="1644650" cy="1644650"/>
            </a:xfrm>
          </p:grpSpPr>
          <p:sp>
            <p:nvSpPr>
              <p:cNvPr id="83" name="AutoShape 40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84" name="Group 83"/>
              <p:cNvGrpSpPr/>
              <p:nvPr/>
            </p:nvGrpSpPr>
            <p:grpSpPr>
              <a:xfrm>
                <a:off x="5486400" y="2776538"/>
                <a:ext cx="1183985" cy="1257300"/>
                <a:chOff x="5486400" y="2776538"/>
                <a:chExt cx="1183985" cy="1257300"/>
              </a:xfrm>
            </p:grpSpPr>
            <p:sp>
              <p:nvSpPr>
                <p:cNvPr id="85" name="Freeform 42"/>
                <p:cNvSpPr>
                  <a:spLocks/>
                </p:cNvSpPr>
                <p:nvPr/>
              </p:nvSpPr>
              <p:spPr bwMode="auto">
                <a:xfrm>
                  <a:off x="5607050" y="2776538"/>
                  <a:ext cx="779463" cy="873125"/>
                </a:xfrm>
                <a:custGeom>
                  <a:avLst/>
                  <a:gdLst>
                    <a:gd name="T0" fmla="*/ 1090 w 1090"/>
                    <a:gd name="T1" fmla="*/ 674 h 1222"/>
                    <a:gd name="T2" fmla="*/ 1014 w 1090"/>
                    <a:gd name="T3" fmla="*/ 723 h 1222"/>
                    <a:gd name="T4" fmla="*/ 889 w 1090"/>
                    <a:gd name="T5" fmla="*/ 941 h 1222"/>
                    <a:gd name="T6" fmla="*/ 845 w 1090"/>
                    <a:gd name="T7" fmla="*/ 980 h 1222"/>
                    <a:gd name="T8" fmla="*/ 802 w 1090"/>
                    <a:gd name="T9" fmla="*/ 1009 h 1222"/>
                    <a:gd name="T10" fmla="*/ 188 w 1090"/>
                    <a:gd name="T11" fmla="*/ 892 h 1222"/>
                    <a:gd name="T12" fmla="*/ 100 w 1090"/>
                    <a:gd name="T13" fmla="*/ 518 h 1222"/>
                    <a:gd name="T14" fmla="*/ 113 w 1090"/>
                    <a:gd name="T15" fmla="*/ 466 h 1222"/>
                    <a:gd name="T16" fmla="*/ 276 w 1090"/>
                    <a:gd name="T17" fmla="*/ 233 h 1222"/>
                    <a:gd name="T18" fmla="*/ 933 w 1090"/>
                    <a:gd name="T19" fmla="*/ 320 h 1222"/>
                    <a:gd name="T20" fmla="*/ 1027 w 1090"/>
                    <a:gd name="T21" fmla="*/ 559 h 1222"/>
                    <a:gd name="T22" fmla="*/ 1088 w 1090"/>
                    <a:gd name="T23" fmla="*/ 519 h 1222"/>
                    <a:gd name="T24" fmla="*/ 986 w 1090"/>
                    <a:gd name="T25" fmla="*/ 280 h 1222"/>
                    <a:gd name="T26" fmla="*/ 235 w 1090"/>
                    <a:gd name="T27" fmla="*/ 179 h 1222"/>
                    <a:gd name="T28" fmla="*/ 63 w 1090"/>
                    <a:gd name="T29" fmla="*/ 407 h 1222"/>
                    <a:gd name="T30" fmla="*/ 46 w 1090"/>
                    <a:gd name="T31" fmla="*/ 455 h 1222"/>
                    <a:gd name="T32" fmla="*/ 135 w 1090"/>
                    <a:gd name="T33" fmla="*/ 933 h 1222"/>
                    <a:gd name="T34" fmla="*/ 808 w 1090"/>
                    <a:gd name="T35" fmla="*/ 1082 h 1222"/>
                    <a:gd name="T36" fmla="*/ 916 w 1090"/>
                    <a:gd name="T37" fmla="*/ 1222 h 1222"/>
                    <a:gd name="T38" fmla="*/ 1066 w 1090"/>
                    <a:gd name="T39" fmla="*/ 1107 h 1222"/>
                    <a:gd name="T40" fmla="*/ 958 w 1090"/>
                    <a:gd name="T41" fmla="*/ 965 h 1222"/>
                    <a:gd name="T42" fmla="*/ 1090 w 1090"/>
                    <a:gd name="T43" fmla="*/ 674 h 1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90" h="1222">
                      <a:moveTo>
                        <a:pt x="1090" y="674"/>
                      </a:moveTo>
                      <a:cubicBezTo>
                        <a:pt x="1014" y="723"/>
                        <a:pt x="1014" y="723"/>
                        <a:pt x="1014" y="723"/>
                      </a:cubicBezTo>
                      <a:cubicBezTo>
                        <a:pt x="993" y="804"/>
                        <a:pt x="951" y="880"/>
                        <a:pt x="889" y="941"/>
                      </a:cubicBezTo>
                      <a:cubicBezTo>
                        <a:pt x="875" y="955"/>
                        <a:pt x="860" y="968"/>
                        <a:pt x="845" y="980"/>
                      </a:cubicBezTo>
                      <a:cubicBezTo>
                        <a:pt x="831" y="990"/>
                        <a:pt x="817" y="1000"/>
                        <a:pt x="802" y="1009"/>
                      </a:cubicBezTo>
                      <a:cubicBezTo>
                        <a:pt x="601" y="1131"/>
                        <a:pt x="334" y="1084"/>
                        <a:pt x="188" y="892"/>
                      </a:cubicBezTo>
                      <a:cubicBezTo>
                        <a:pt x="103" y="782"/>
                        <a:pt x="76" y="645"/>
                        <a:pt x="100" y="518"/>
                      </a:cubicBezTo>
                      <a:cubicBezTo>
                        <a:pt x="103" y="500"/>
                        <a:pt x="107" y="483"/>
                        <a:pt x="113" y="466"/>
                      </a:cubicBezTo>
                      <a:cubicBezTo>
                        <a:pt x="141" y="376"/>
                        <a:pt x="196" y="294"/>
                        <a:pt x="276" y="233"/>
                      </a:cubicBezTo>
                      <a:cubicBezTo>
                        <a:pt x="480" y="75"/>
                        <a:pt x="775" y="114"/>
                        <a:pt x="933" y="320"/>
                      </a:cubicBezTo>
                      <a:cubicBezTo>
                        <a:pt x="987" y="392"/>
                        <a:pt x="1018" y="475"/>
                        <a:pt x="1027" y="559"/>
                      </a:cubicBezTo>
                      <a:cubicBezTo>
                        <a:pt x="1088" y="519"/>
                        <a:pt x="1088" y="519"/>
                        <a:pt x="1088" y="519"/>
                      </a:cubicBezTo>
                      <a:cubicBezTo>
                        <a:pt x="1075" y="435"/>
                        <a:pt x="1041" y="352"/>
                        <a:pt x="986" y="280"/>
                      </a:cubicBezTo>
                      <a:cubicBezTo>
                        <a:pt x="805" y="45"/>
                        <a:pt x="470" y="0"/>
                        <a:pt x="235" y="179"/>
                      </a:cubicBezTo>
                      <a:cubicBezTo>
                        <a:pt x="155" y="241"/>
                        <a:pt x="98" y="320"/>
                        <a:pt x="63" y="407"/>
                      </a:cubicBezTo>
                      <a:cubicBezTo>
                        <a:pt x="57" y="423"/>
                        <a:pt x="51" y="439"/>
                        <a:pt x="46" y="455"/>
                      </a:cubicBezTo>
                      <a:cubicBezTo>
                        <a:pt x="0" y="614"/>
                        <a:pt x="27" y="791"/>
                        <a:pt x="135" y="933"/>
                      </a:cubicBezTo>
                      <a:cubicBezTo>
                        <a:pt x="296" y="1143"/>
                        <a:pt x="583" y="1201"/>
                        <a:pt x="808" y="1082"/>
                      </a:cubicBezTo>
                      <a:cubicBezTo>
                        <a:pt x="808" y="1082"/>
                        <a:pt x="809" y="1082"/>
                        <a:pt x="916" y="1222"/>
                      </a:cubicBezTo>
                      <a:cubicBezTo>
                        <a:pt x="1066" y="1107"/>
                        <a:pt x="1066" y="1107"/>
                        <a:pt x="1066" y="1107"/>
                      </a:cubicBezTo>
                      <a:cubicBezTo>
                        <a:pt x="1059" y="1098"/>
                        <a:pt x="1036" y="1068"/>
                        <a:pt x="958" y="965"/>
                      </a:cubicBezTo>
                      <a:cubicBezTo>
                        <a:pt x="1032" y="883"/>
                        <a:pt x="1077" y="780"/>
                        <a:pt x="1090" y="674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85"/>
                <p:cNvSpPr>
                  <a:spLocks/>
                </p:cNvSpPr>
                <p:nvPr/>
              </p:nvSpPr>
              <p:spPr bwMode="auto">
                <a:xfrm>
                  <a:off x="5486400" y="2905125"/>
                  <a:ext cx="1183985" cy="1128713"/>
                </a:xfrm>
                <a:custGeom>
                  <a:avLst/>
                  <a:gdLst>
                    <a:gd name="connsiteX0" fmla="*/ 916123 w 1183985"/>
                    <a:gd name="connsiteY0" fmla="*/ 712788 h 1128713"/>
                    <a:gd name="connsiteX1" fmla="*/ 819151 w 1183985"/>
                    <a:gd name="connsiteY1" fmla="*/ 786369 h 1128713"/>
                    <a:gd name="connsiteX2" fmla="*/ 1053025 w 1183985"/>
                    <a:gd name="connsiteY2" fmla="*/ 1094265 h 1128713"/>
                    <a:gd name="connsiteX3" fmla="*/ 1072990 w 1183985"/>
                    <a:gd name="connsiteY3" fmla="*/ 1097122 h 1128713"/>
                    <a:gd name="connsiteX4" fmla="*/ 1115772 w 1183985"/>
                    <a:gd name="connsiteY4" fmla="*/ 1076405 h 1128713"/>
                    <a:gd name="connsiteX5" fmla="*/ 1149997 w 1183985"/>
                    <a:gd name="connsiteY5" fmla="*/ 1019970 h 1128713"/>
                    <a:gd name="connsiteX6" fmla="*/ 916123 w 1183985"/>
                    <a:gd name="connsiteY6" fmla="*/ 712788 h 1128713"/>
                    <a:gd name="connsiteX7" fmla="*/ 917497 w 1183985"/>
                    <a:gd name="connsiteY7" fmla="*/ 674688 h 1128713"/>
                    <a:gd name="connsiteX8" fmla="*/ 921783 w 1183985"/>
                    <a:gd name="connsiteY8" fmla="*/ 674688 h 1128713"/>
                    <a:gd name="connsiteX9" fmla="*/ 932499 w 1183985"/>
                    <a:gd name="connsiteY9" fmla="*/ 680399 h 1128713"/>
                    <a:gd name="connsiteX10" fmla="*/ 1176101 w 1183985"/>
                    <a:gd name="connsiteY10" fmla="*/ 1000929 h 1128713"/>
                    <a:gd name="connsiteX11" fmla="*/ 1136096 w 1183985"/>
                    <a:gd name="connsiteY11" fmla="*/ 1100872 h 1128713"/>
                    <a:gd name="connsiteX12" fmla="*/ 1078946 w 1183985"/>
                    <a:gd name="connsiteY12" fmla="*/ 1127285 h 1128713"/>
                    <a:gd name="connsiteX13" fmla="*/ 1065373 w 1183985"/>
                    <a:gd name="connsiteY13" fmla="*/ 1128713 h 1128713"/>
                    <a:gd name="connsiteX14" fmla="*/ 1028225 w 1183985"/>
                    <a:gd name="connsiteY14" fmla="*/ 1112294 h 1128713"/>
                    <a:gd name="connsiteX15" fmla="*/ 785338 w 1183985"/>
                    <a:gd name="connsiteY15" fmla="*/ 793192 h 1128713"/>
                    <a:gd name="connsiteX16" fmla="*/ 782480 w 1183985"/>
                    <a:gd name="connsiteY16" fmla="*/ 779628 h 1128713"/>
                    <a:gd name="connsiteX17" fmla="*/ 788195 w 1183985"/>
                    <a:gd name="connsiteY17" fmla="*/ 771061 h 1128713"/>
                    <a:gd name="connsiteX18" fmla="*/ 910353 w 1183985"/>
                    <a:gd name="connsiteY18" fmla="*/ 677544 h 1128713"/>
                    <a:gd name="connsiteX19" fmla="*/ 917497 w 1183985"/>
                    <a:gd name="connsiteY19" fmla="*/ 674688 h 1128713"/>
                    <a:gd name="connsiteX20" fmla="*/ 719495 w 1183985"/>
                    <a:gd name="connsiteY20" fmla="*/ 369888 h 1128713"/>
                    <a:gd name="connsiteX21" fmla="*/ 708054 w 1183985"/>
                    <a:gd name="connsiteY21" fmla="*/ 371334 h 1128713"/>
                    <a:gd name="connsiteX22" fmla="*/ 683741 w 1183985"/>
                    <a:gd name="connsiteY22" fmla="*/ 391575 h 1128713"/>
                    <a:gd name="connsiteX23" fmla="*/ 679450 w 1183985"/>
                    <a:gd name="connsiteY23" fmla="*/ 410370 h 1128713"/>
                    <a:gd name="connsiteX24" fmla="*/ 719495 w 1183985"/>
                    <a:gd name="connsiteY24" fmla="*/ 450851 h 1128713"/>
                    <a:gd name="connsiteX25" fmla="*/ 758825 w 1183985"/>
                    <a:gd name="connsiteY25" fmla="*/ 410370 h 1128713"/>
                    <a:gd name="connsiteX26" fmla="*/ 758825 w 1183985"/>
                    <a:gd name="connsiteY26" fmla="*/ 403864 h 1128713"/>
                    <a:gd name="connsiteX27" fmla="*/ 741663 w 1183985"/>
                    <a:gd name="connsiteY27" fmla="*/ 376394 h 1128713"/>
                    <a:gd name="connsiteX28" fmla="*/ 719495 w 1183985"/>
                    <a:gd name="connsiteY28" fmla="*/ 369888 h 1128713"/>
                    <a:gd name="connsiteX29" fmla="*/ 343258 w 1183985"/>
                    <a:gd name="connsiteY29" fmla="*/ 350838 h 1128713"/>
                    <a:gd name="connsiteX30" fmla="*/ 328956 w 1183985"/>
                    <a:gd name="connsiteY30" fmla="*/ 353730 h 1128713"/>
                    <a:gd name="connsiteX31" fmla="*/ 306074 w 1183985"/>
                    <a:gd name="connsiteY31" fmla="*/ 375416 h 1128713"/>
                    <a:gd name="connsiteX32" fmla="*/ 303213 w 1183985"/>
                    <a:gd name="connsiteY32" fmla="*/ 391320 h 1128713"/>
                    <a:gd name="connsiteX33" fmla="*/ 343258 w 1183985"/>
                    <a:gd name="connsiteY33" fmla="*/ 431801 h 1128713"/>
                    <a:gd name="connsiteX34" fmla="*/ 382588 w 1183985"/>
                    <a:gd name="connsiteY34" fmla="*/ 391320 h 1128713"/>
                    <a:gd name="connsiteX35" fmla="*/ 381158 w 1183985"/>
                    <a:gd name="connsiteY35" fmla="*/ 379031 h 1128713"/>
                    <a:gd name="connsiteX36" fmla="*/ 360420 w 1183985"/>
                    <a:gd name="connsiteY36" fmla="*/ 355175 h 1128713"/>
                    <a:gd name="connsiteX37" fmla="*/ 343258 w 1183985"/>
                    <a:gd name="connsiteY37" fmla="*/ 350838 h 1128713"/>
                    <a:gd name="connsiteX38" fmla="*/ 1029133 w 1183985"/>
                    <a:gd name="connsiteY38" fmla="*/ 176213 h 1128713"/>
                    <a:gd name="connsiteX39" fmla="*/ 993775 w 1183985"/>
                    <a:gd name="connsiteY39" fmla="*/ 211138 h 1128713"/>
                    <a:gd name="connsiteX40" fmla="*/ 993775 w 1183985"/>
                    <a:gd name="connsiteY40" fmla="*/ 214702 h 1128713"/>
                    <a:gd name="connsiteX41" fmla="*/ 1011094 w 1183985"/>
                    <a:gd name="connsiteY41" fmla="*/ 241074 h 1128713"/>
                    <a:gd name="connsiteX42" fmla="*/ 1029133 w 1183985"/>
                    <a:gd name="connsiteY42" fmla="*/ 246063 h 1128713"/>
                    <a:gd name="connsiteX43" fmla="*/ 1065213 w 1183985"/>
                    <a:gd name="connsiteY43" fmla="*/ 211138 h 1128713"/>
                    <a:gd name="connsiteX44" fmla="*/ 1029133 w 1183985"/>
                    <a:gd name="connsiteY44" fmla="*/ 176213 h 1128713"/>
                    <a:gd name="connsiteX45" fmla="*/ 544870 w 1183985"/>
                    <a:gd name="connsiteY45" fmla="*/ 157163 h 1128713"/>
                    <a:gd name="connsiteX46" fmla="*/ 504825 w 1183985"/>
                    <a:gd name="connsiteY46" fmla="*/ 196851 h 1128713"/>
                    <a:gd name="connsiteX47" fmla="*/ 506255 w 1183985"/>
                    <a:gd name="connsiteY47" fmla="*/ 208190 h 1128713"/>
                    <a:gd name="connsiteX48" fmla="*/ 526993 w 1183985"/>
                    <a:gd name="connsiteY48" fmla="*/ 232286 h 1128713"/>
                    <a:gd name="connsiteX49" fmla="*/ 544870 w 1183985"/>
                    <a:gd name="connsiteY49" fmla="*/ 236538 h 1128713"/>
                    <a:gd name="connsiteX50" fmla="*/ 557742 w 1183985"/>
                    <a:gd name="connsiteY50" fmla="*/ 233703 h 1128713"/>
                    <a:gd name="connsiteX51" fmla="*/ 580625 w 1183985"/>
                    <a:gd name="connsiteY51" fmla="*/ 213151 h 1128713"/>
                    <a:gd name="connsiteX52" fmla="*/ 584200 w 1183985"/>
                    <a:gd name="connsiteY52" fmla="*/ 196851 h 1128713"/>
                    <a:gd name="connsiteX53" fmla="*/ 544870 w 1183985"/>
                    <a:gd name="connsiteY53" fmla="*/ 157163 h 1128713"/>
                    <a:gd name="connsiteX54" fmla="*/ 544702 w 1183985"/>
                    <a:gd name="connsiteY54" fmla="*/ 125413 h 1128713"/>
                    <a:gd name="connsiteX55" fmla="*/ 615431 w 1183985"/>
                    <a:gd name="connsiteY55" fmla="*/ 196676 h 1128713"/>
                    <a:gd name="connsiteX56" fmla="*/ 601857 w 1183985"/>
                    <a:gd name="connsiteY56" fmla="*/ 238721 h 1128713"/>
                    <a:gd name="connsiteX57" fmla="*/ 688304 w 1183985"/>
                    <a:gd name="connsiteY57" fmla="*/ 345614 h 1128713"/>
                    <a:gd name="connsiteX58" fmla="*/ 719739 w 1183985"/>
                    <a:gd name="connsiteY58" fmla="*/ 338488 h 1128713"/>
                    <a:gd name="connsiteX59" fmla="*/ 739029 w 1183985"/>
                    <a:gd name="connsiteY59" fmla="*/ 341339 h 1128713"/>
                    <a:gd name="connsiteX60" fmla="*/ 769750 w 1183985"/>
                    <a:gd name="connsiteY60" fmla="*/ 359154 h 1128713"/>
                    <a:gd name="connsiteX61" fmla="*/ 823333 w 1183985"/>
                    <a:gd name="connsiteY61" fmla="*/ 324236 h 1128713"/>
                    <a:gd name="connsiteX62" fmla="*/ 855483 w 1183985"/>
                    <a:gd name="connsiteY62" fmla="*/ 303569 h 1128713"/>
                    <a:gd name="connsiteX63" fmla="*/ 901921 w 1183985"/>
                    <a:gd name="connsiteY63" fmla="*/ 274352 h 1128713"/>
                    <a:gd name="connsiteX64" fmla="*/ 931928 w 1183985"/>
                    <a:gd name="connsiteY64" fmla="*/ 255111 h 1128713"/>
                    <a:gd name="connsiteX65" fmla="*/ 966935 w 1183985"/>
                    <a:gd name="connsiteY65" fmla="*/ 232307 h 1128713"/>
                    <a:gd name="connsiteX66" fmla="*/ 963363 w 1183985"/>
                    <a:gd name="connsiteY66" fmla="*/ 210928 h 1128713"/>
                    <a:gd name="connsiteX67" fmla="*/ 964792 w 1183985"/>
                    <a:gd name="connsiteY67" fmla="*/ 196676 h 1128713"/>
                    <a:gd name="connsiteX68" fmla="*/ 1029806 w 1183985"/>
                    <a:gd name="connsiteY68" fmla="*/ 144654 h 1128713"/>
                    <a:gd name="connsiteX69" fmla="*/ 1096963 w 1183985"/>
                    <a:gd name="connsiteY69" fmla="*/ 210928 h 1128713"/>
                    <a:gd name="connsiteX70" fmla="*/ 1029806 w 1183985"/>
                    <a:gd name="connsiteY70" fmla="*/ 277202 h 1128713"/>
                    <a:gd name="connsiteX71" fmla="*/ 1015517 w 1183985"/>
                    <a:gd name="connsiteY71" fmla="*/ 275777 h 1128713"/>
                    <a:gd name="connsiteX72" fmla="*/ 984082 w 1183985"/>
                    <a:gd name="connsiteY72" fmla="*/ 258674 h 1128713"/>
                    <a:gd name="connsiteX73" fmla="*/ 934071 w 1183985"/>
                    <a:gd name="connsiteY73" fmla="*/ 290742 h 1128713"/>
                    <a:gd name="connsiteX74" fmla="*/ 902636 w 1183985"/>
                    <a:gd name="connsiteY74" fmla="*/ 310696 h 1128713"/>
                    <a:gd name="connsiteX75" fmla="*/ 852625 w 1183985"/>
                    <a:gd name="connsiteY75" fmla="*/ 342764 h 1128713"/>
                    <a:gd name="connsiteX76" fmla="*/ 817617 w 1183985"/>
                    <a:gd name="connsiteY76" fmla="*/ 365568 h 1128713"/>
                    <a:gd name="connsiteX77" fmla="*/ 786182 w 1183985"/>
                    <a:gd name="connsiteY77" fmla="*/ 385521 h 1128713"/>
                    <a:gd name="connsiteX78" fmla="*/ 790469 w 1183985"/>
                    <a:gd name="connsiteY78" fmla="*/ 409751 h 1128713"/>
                    <a:gd name="connsiteX79" fmla="*/ 789754 w 1183985"/>
                    <a:gd name="connsiteY79" fmla="*/ 420440 h 1128713"/>
                    <a:gd name="connsiteX80" fmla="*/ 719739 w 1183985"/>
                    <a:gd name="connsiteY80" fmla="*/ 481013 h 1128713"/>
                    <a:gd name="connsiteX81" fmla="*/ 648295 w 1183985"/>
                    <a:gd name="connsiteY81" fmla="*/ 409751 h 1128713"/>
                    <a:gd name="connsiteX82" fmla="*/ 663298 w 1183985"/>
                    <a:gd name="connsiteY82" fmla="*/ 365568 h 1128713"/>
                    <a:gd name="connsiteX83" fmla="*/ 577566 w 1183985"/>
                    <a:gd name="connsiteY83" fmla="*/ 259387 h 1128713"/>
                    <a:gd name="connsiteX84" fmla="*/ 544702 w 1183985"/>
                    <a:gd name="connsiteY84" fmla="*/ 267938 h 1128713"/>
                    <a:gd name="connsiteX85" fmla="*/ 503978 w 1183985"/>
                    <a:gd name="connsiteY85" fmla="*/ 255111 h 1128713"/>
                    <a:gd name="connsiteX86" fmla="*/ 404671 w 1183985"/>
                    <a:gd name="connsiteY86" fmla="*/ 354878 h 1128713"/>
                    <a:gd name="connsiteX87" fmla="*/ 413245 w 1183985"/>
                    <a:gd name="connsiteY87" fmla="*/ 390510 h 1128713"/>
                    <a:gd name="connsiteX88" fmla="*/ 343230 w 1183985"/>
                    <a:gd name="connsiteY88" fmla="*/ 461772 h 1128713"/>
                    <a:gd name="connsiteX89" fmla="*/ 271786 w 1183985"/>
                    <a:gd name="connsiteY89" fmla="*/ 390510 h 1128713"/>
                    <a:gd name="connsiteX90" fmla="*/ 284646 w 1183985"/>
                    <a:gd name="connsiteY90" fmla="*/ 349890 h 1128713"/>
                    <a:gd name="connsiteX91" fmla="*/ 217488 w 1183985"/>
                    <a:gd name="connsiteY91" fmla="*/ 270789 h 1128713"/>
                    <a:gd name="connsiteX92" fmla="*/ 224633 w 1183985"/>
                    <a:gd name="connsiteY92" fmla="*/ 230169 h 1128713"/>
                    <a:gd name="connsiteX93" fmla="*/ 307508 w 1183985"/>
                    <a:gd name="connsiteY93" fmla="*/ 328511 h 1128713"/>
                    <a:gd name="connsiteX94" fmla="*/ 343230 w 1183985"/>
                    <a:gd name="connsiteY94" fmla="*/ 319247 h 1128713"/>
                    <a:gd name="connsiteX95" fmla="*/ 383238 w 1183985"/>
                    <a:gd name="connsiteY95" fmla="*/ 332074 h 1128713"/>
                    <a:gd name="connsiteX96" fmla="*/ 482545 w 1183985"/>
                    <a:gd name="connsiteY96" fmla="*/ 232307 h 1128713"/>
                    <a:gd name="connsiteX97" fmla="*/ 473258 w 1183985"/>
                    <a:gd name="connsiteY97" fmla="*/ 196676 h 1128713"/>
                    <a:gd name="connsiteX98" fmla="*/ 544702 w 1183985"/>
                    <a:gd name="connsiteY98" fmla="*/ 125413 h 1128713"/>
                    <a:gd name="connsiteX99" fmla="*/ 62351 w 1183985"/>
                    <a:gd name="connsiteY99" fmla="*/ 31750 h 1128713"/>
                    <a:gd name="connsiteX100" fmla="*/ 31750 w 1183985"/>
                    <a:gd name="connsiteY100" fmla="*/ 62003 h 1128713"/>
                    <a:gd name="connsiteX101" fmla="*/ 62351 w 1183985"/>
                    <a:gd name="connsiteY101" fmla="*/ 93663 h 1128713"/>
                    <a:gd name="connsiteX102" fmla="*/ 68044 w 1183985"/>
                    <a:gd name="connsiteY102" fmla="*/ 92960 h 1128713"/>
                    <a:gd name="connsiteX103" fmla="*/ 91528 w 1183985"/>
                    <a:gd name="connsiteY103" fmla="*/ 72556 h 1128713"/>
                    <a:gd name="connsiteX104" fmla="*/ 93663 w 1183985"/>
                    <a:gd name="connsiteY104" fmla="*/ 62003 h 1128713"/>
                    <a:gd name="connsiteX105" fmla="*/ 62351 w 1183985"/>
                    <a:gd name="connsiteY105" fmla="*/ 31750 h 1128713"/>
                    <a:gd name="connsiteX106" fmla="*/ 62151 w 1183985"/>
                    <a:gd name="connsiteY106" fmla="*/ 0 h 1128713"/>
                    <a:gd name="connsiteX107" fmla="*/ 125016 w 1183985"/>
                    <a:gd name="connsiteY107" fmla="*/ 62482 h 1128713"/>
                    <a:gd name="connsiteX108" fmla="*/ 113586 w 1183985"/>
                    <a:gd name="connsiteY108" fmla="*/ 99403 h 1128713"/>
                    <a:gd name="connsiteX109" fmla="*/ 142875 w 1183985"/>
                    <a:gd name="connsiteY109" fmla="*/ 134194 h 1128713"/>
                    <a:gd name="connsiteX110" fmla="*/ 130016 w 1183985"/>
                    <a:gd name="connsiteY110" fmla="*/ 168275 h 1128713"/>
                    <a:gd name="connsiteX111" fmla="*/ 89297 w 1183985"/>
                    <a:gd name="connsiteY111" fmla="*/ 119284 h 1128713"/>
                    <a:gd name="connsiteX112" fmla="*/ 62151 w 1183985"/>
                    <a:gd name="connsiteY112" fmla="*/ 125674 h 1128713"/>
                    <a:gd name="connsiteX113" fmla="*/ 0 w 1183985"/>
                    <a:gd name="connsiteY113" fmla="*/ 62482 h 1128713"/>
                    <a:gd name="connsiteX114" fmla="*/ 62151 w 1183985"/>
                    <a:gd name="connsiteY114" fmla="*/ 0 h 1128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</a:cxnLst>
                  <a:rect l="l" t="t" r="r" b="b"/>
                  <a:pathLst>
                    <a:path w="1183985" h="1128713">
                      <a:moveTo>
                        <a:pt x="916123" y="712788"/>
                      </a:moveTo>
                      <a:cubicBezTo>
                        <a:pt x="916123" y="712788"/>
                        <a:pt x="916123" y="712788"/>
                        <a:pt x="819151" y="786369"/>
                      </a:cubicBezTo>
                      <a:cubicBezTo>
                        <a:pt x="819151" y="786369"/>
                        <a:pt x="819151" y="786369"/>
                        <a:pt x="1053025" y="1094265"/>
                      </a:cubicBezTo>
                      <a:cubicBezTo>
                        <a:pt x="1055877" y="1097122"/>
                        <a:pt x="1063720" y="1098551"/>
                        <a:pt x="1072990" y="1097122"/>
                      </a:cubicBezTo>
                      <a:cubicBezTo>
                        <a:pt x="1086537" y="1094265"/>
                        <a:pt x="1102224" y="1087121"/>
                        <a:pt x="1115772" y="1076405"/>
                      </a:cubicBezTo>
                      <a:cubicBezTo>
                        <a:pt x="1145006" y="1054260"/>
                        <a:pt x="1155701" y="1027828"/>
                        <a:pt x="1149997" y="1019970"/>
                      </a:cubicBezTo>
                      <a:cubicBezTo>
                        <a:pt x="1149997" y="1019970"/>
                        <a:pt x="1149997" y="1019970"/>
                        <a:pt x="916123" y="712788"/>
                      </a:cubicBezTo>
                      <a:close/>
                      <a:moveTo>
                        <a:pt x="917497" y="674688"/>
                      </a:moveTo>
                      <a:cubicBezTo>
                        <a:pt x="918926" y="674688"/>
                        <a:pt x="920355" y="674688"/>
                        <a:pt x="921783" y="674688"/>
                      </a:cubicBezTo>
                      <a:cubicBezTo>
                        <a:pt x="926070" y="675402"/>
                        <a:pt x="929641" y="677544"/>
                        <a:pt x="932499" y="680399"/>
                      </a:cubicBezTo>
                      <a:cubicBezTo>
                        <a:pt x="932499" y="680399"/>
                        <a:pt x="932499" y="680399"/>
                        <a:pt x="1176101" y="1000929"/>
                      </a:cubicBezTo>
                      <a:cubicBezTo>
                        <a:pt x="1195389" y="1025915"/>
                        <a:pt x="1178244" y="1068748"/>
                        <a:pt x="1136096" y="1100872"/>
                      </a:cubicBezTo>
                      <a:cubicBezTo>
                        <a:pt x="1117522" y="1114436"/>
                        <a:pt x="1097520" y="1124430"/>
                        <a:pt x="1078946" y="1127285"/>
                      </a:cubicBezTo>
                      <a:cubicBezTo>
                        <a:pt x="1074660" y="1127999"/>
                        <a:pt x="1069659" y="1128713"/>
                        <a:pt x="1065373" y="1128713"/>
                      </a:cubicBezTo>
                      <a:cubicBezTo>
                        <a:pt x="1049657" y="1128713"/>
                        <a:pt x="1036083" y="1123002"/>
                        <a:pt x="1028225" y="1112294"/>
                      </a:cubicBezTo>
                      <a:cubicBezTo>
                        <a:pt x="1028225" y="1112294"/>
                        <a:pt x="1028225" y="1112294"/>
                        <a:pt x="785338" y="793192"/>
                      </a:cubicBezTo>
                      <a:cubicBezTo>
                        <a:pt x="781766" y="788908"/>
                        <a:pt x="781051" y="783911"/>
                        <a:pt x="782480" y="779628"/>
                      </a:cubicBezTo>
                      <a:cubicBezTo>
                        <a:pt x="783194" y="776058"/>
                        <a:pt x="785338" y="773203"/>
                        <a:pt x="788195" y="771061"/>
                      </a:cubicBezTo>
                      <a:cubicBezTo>
                        <a:pt x="788195" y="771061"/>
                        <a:pt x="788195" y="771061"/>
                        <a:pt x="910353" y="677544"/>
                      </a:cubicBezTo>
                      <a:cubicBezTo>
                        <a:pt x="912496" y="676116"/>
                        <a:pt x="914640" y="675402"/>
                        <a:pt x="917497" y="674688"/>
                      </a:cubicBezTo>
                      <a:close/>
                      <a:moveTo>
                        <a:pt x="719495" y="369888"/>
                      </a:moveTo>
                      <a:cubicBezTo>
                        <a:pt x="715205" y="369888"/>
                        <a:pt x="711629" y="370611"/>
                        <a:pt x="708054" y="371334"/>
                      </a:cubicBezTo>
                      <a:cubicBezTo>
                        <a:pt x="698043" y="374225"/>
                        <a:pt x="688746" y="381454"/>
                        <a:pt x="683741" y="391575"/>
                      </a:cubicBezTo>
                      <a:cubicBezTo>
                        <a:pt x="680880" y="396635"/>
                        <a:pt x="679450" y="403141"/>
                        <a:pt x="679450" y="410370"/>
                      </a:cubicBezTo>
                      <a:cubicBezTo>
                        <a:pt x="679450" y="432779"/>
                        <a:pt x="697328" y="450851"/>
                        <a:pt x="719495" y="450851"/>
                      </a:cubicBezTo>
                      <a:cubicBezTo>
                        <a:pt x="740948" y="450851"/>
                        <a:pt x="758825" y="432779"/>
                        <a:pt x="758825" y="410370"/>
                      </a:cubicBezTo>
                      <a:cubicBezTo>
                        <a:pt x="758825" y="408201"/>
                        <a:pt x="758825" y="406032"/>
                        <a:pt x="758825" y="403864"/>
                      </a:cubicBezTo>
                      <a:cubicBezTo>
                        <a:pt x="756680" y="392298"/>
                        <a:pt x="750244" y="382900"/>
                        <a:pt x="741663" y="376394"/>
                      </a:cubicBezTo>
                      <a:cubicBezTo>
                        <a:pt x="735227" y="372057"/>
                        <a:pt x="727361" y="369888"/>
                        <a:pt x="719495" y="369888"/>
                      </a:cubicBezTo>
                      <a:close/>
                      <a:moveTo>
                        <a:pt x="343258" y="350838"/>
                      </a:moveTo>
                      <a:cubicBezTo>
                        <a:pt x="337538" y="350838"/>
                        <a:pt x="333247" y="351561"/>
                        <a:pt x="328956" y="353730"/>
                      </a:cubicBezTo>
                      <a:cubicBezTo>
                        <a:pt x="318230" y="357344"/>
                        <a:pt x="310364" y="365296"/>
                        <a:pt x="306074" y="375416"/>
                      </a:cubicBezTo>
                      <a:cubicBezTo>
                        <a:pt x="303928" y="380476"/>
                        <a:pt x="303213" y="385537"/>
                        <a:pt x="303213" y="391320"/>
                      </a:cubicBezTo>
                      <a:cubicBezTo>
                        <a:pt x="303213" y="413729"/>
                        <a:pt x="321091" y="431801"/>
                        <a:pt x="343258" y="431801"/>
                      </a:cubicBezTo>
                      <a:cubicBezTo>
                        <a:pt x="364711" y="431801"/>
                        <a:pt x="382588" y="413729"/>
                        <a:pt x="382588" y="391320"/>
                      </a:cubicBezTo>
                      <a:cubicBezTo>
                        <a:pt x="382588" y="386982"/>
                        <a:pt x="381873" y="382645"/>
                        <a:pt x="381158" y="379031"/>
                      </a:cubicBezTo>
                      <a:cubicBezTo>
                        <a:pt x="377583" y="368187"/>
                        <a:pt x="370432" y="359513"/>
                        <a:pt x="360420" y="355175"/>
                      </a:cubicBezTo>
                      <a:cubicBezTo>
                        <a:pt x="355415" y="352284"/>
                        <a:pt x="348979" y="350838"/>
                        <a:pt x="343258" y="350838"/>
                      </a:cubicBezTo>
                      <a:close/>
                      <a:moveTo>
                        <a:pt x="1029133" y="176213"/>
                      </a:moveTo>
                      <a:cubicBezTo>
                        <a:pt x="1009650" y="176213"/>
                        <a:pt x="993775" y="191894"/>
                        <a:pt x="993775" y="211138"/>
                      </a:cubicBezTo>
                      <a:cubicBezTo>
                        <a:pt x="993775" y="212564"/>
                        <a:pt x="993775" y="213989"/>
                        <a:pt x="993775" y="214702"/>
                      </a:cubicBezTo>
                      <a:cubicBezTo>
                        <a:pt x="995218" y="226106"/>
                        <a:pt x="1001713" y="236085"/>
                        <a:pt x="1011094" y="241074"/>
                      </a:cubicBezTo>
                      <a:cubicBezTo>
                        <a:pt x="1016145" y="244638"/>
                        <a:pt x="1022639" y="246063"/>
                        <a:pt x="1029133" y="246063"/>
                      </a:cubicBezTo>
                      <a:cubicBezTo>
                        <a:pt x="1048617" y="246063"/>
                        <a:pt x="1065213" y="230383"/>
                        <a:pt x="1065213" y="211138"/>
                      </a:cubicBezTo>
                      <a:cubicBezTo>
                        <a:pt x="1065213" y="191894"/>
                        <a:pt x="1048617" y="176213"/>
                        <a:pt x="1029133" y="176213"/>
                      </a:cubicBezTo>
                      <a:close/>
                      <a:moveTo>
                        <a:pt x="544870" y="157163"/>
                      </a:moveTo>
                      <a:cubicBezTo>
                        <a:pt x="522703" y="157163"/>
                        <a:pt x="504825" y="174881"/>
                        <a:pt x="504825" y="196851"/>
                      </a:cubicBezTo>
                      <a:cubicBezTo>
                        <a:pt x="504825" y="201103"/>
                        <a:pt x="505540" y="204646"/>
                        <a:pt x="506255" y="208190"/>
                      </a:cubicBezTo>
                      <a:cubicBezTo>
                        <a:pt x="509831" y="218820"/>
                        <a:pt x="516982" y="227325"/>
                        <a:pt x="526993" y="232286"/>
                      </a:cubicBezTo>
                      <a:cubicBezTo>
                        <a:pt x="532714" y="234412"/>
                        <a:pt x="538434" y="236538"/>
                        <a:pt x="544870" y="236538"/>
                      </a:cubicBezTo>
                      <a:cubicBezTo>
                        <a:pt x="549161" y="236538"/>
                        <a:pt x="553451" y="235121"/>
                        <a:pt x="557742" y="233703"/>
                      </a:cubicBezTo>
                      <a:cubicBezTo>
                        <a:pt x="567753" y="230160"/>
                        <a:pt x="576334" y="223073"/>
                        <a:pt x="580625" y="213151"/>
                      </a:cubicBezTo>
                      <a:cubicBezTo>
                        <a:pt x="583485" y="208190"/>
                        <a:pt x="584200" y="202520"/>
                        <a:pt x="584200" y="196851"/>
                      </a:cubicBezTo>
                      <a:cubicBezTo>
                        <a:pt x="584200" y="174881"/>
                        <a:pt x="566323" y="157163"/>
                        <a:pt x="544870" y="157163"/>
                      </a:cubicBezTo>
                      <a:close/>
                      <a:moveTo>
                        <a:pt x="544702" y="125413"/>
                      </a:moveTo>
                      <a:cubicBezTo>
                        <a:pt x="583996" y="125413"/>
                        <a:pt x="615431" y="157481"/>
                        <a:pt x="615431" y="196676"/>
                      </a:cubicBezTo>
                      <a:cubicBezTo>
                        <a:pt x="615431" y="212353"/>
                        <a:pt x="610430" y="227319"/>
                        <a:pt x="601857" y="238721"/>
                      </a:cubicBezTo>
                      <a:cubicBezTo>
                        <a:pt x="601857" y="238721"/>
                        <a:pt x="601857" y="238721"/>
                        <a:pt x="688304" y="345614"/>
                      </a:cubicBezTo>
                      <a:cubicBezTo>
                        <a:pt x="697592" y="341339"/>
                        <a:pt x="708308" y="338488"/>
                        <a:pt x="719739" y="338488"/>
                      </a:cubicBezTo>
                      <a:cubicBezTo>
                        <a:pt x="726169" y="338488"/>
                        <a:pt x="732599" y="339201"/>
                        <a:pt x="739029" y="341339"/>
                      </a:cubicBezTo>
                      <a:cubicBezTo>
                        <a:pt x="750460" y="344189"/>
                        <a:pt x="761177" y="350603"/>
                        <a:pt x="769750" y="359154"/>
                      </a:cubicBezTo>
                      <a:cubicBezTo>
                        <a:pt x="769750" y="359154"/>
                        <a:pt x="769750" y="359154"/>
                        <a:pt x="823333" y="324236"/>
                      </a:cubicBezTo>
                      <a:cubicBezTo>
                        <a:pt x="823333" y="324236"/>
                        <a:pt x="823333" y="324236"/>
                        <a:pt x="855483" y="303569"/>
                      </a:cubicBezTo>
                      <a:cubicBezTo>
                        <a:pt x="855483" y="303569"/>
                        <a:pt x="855483" y="303569"/>
                        <a:pt x="901921" y="274352"/>
                      </a:cubicBezTo>
                      <a:cubicBezTo>
                        <a:pt x="901921" y="274352"/>
                        <a:pt x="901921" y="274352"/>
                        <a:pt x="931928" y="255111"/>
                      </a:cubicBezTo>
                      <a:cubicBezTo>
                        <a:pt x="931928" y="255111"/>
                        <a:pt x="931928" y="255111"/>
                        <a:pt x="966935" y="232307"/>
                      </a:cubicBezTo>
                      <a:cubicBezTo>
                        <a:pt x="964792" y="225893"/>
                        <a:pt x="963363" y="218767"/>
                        <a:pt x="963363" y="210928"/>
                      </a:cubicBezTo>
                      <a:cubicBezTo>
                        <a:pt x="963363" y="205940"/>
                        <a:pt x="964077" y="200951"/>
                        <a:pt x="964792" y="196676"/>
                      </a:cubicBezTo>
                      <a:cubicBezTo>
                        <a:pt x="971222" y="166745"/>
                        <a:pt x="998371" y="144654"/>
                        <a:pt x="1029806" y="144654"/>
                      </a:cubicBezTo>
                      <a:cubicBezTo>
                        <a:pt x="1066957" y="144654"/>
                        <a:pt x="1096963" y="174584"/>
                        <a:pt x="1096963" y="210928"/>
                      </a:cubicBezTo>
                      <a:cubicBezTo>
                        <a:pt x="1096963" y="247272"/>
                        <a:pt x="1066957" y="277202"/>
                        <a:pt x="1029806" y="277202"/>
                      </a:cubicBezTo>
                      <a:cubicBezTo>
                        <a:pt x="1024805" y="277202"/>
                        <a:pt x="1020518" y="277202"/>
                        <a:pt x="1015517" y="275777"/>
                      </a:cubicBezTo>
                      <a:cubicBezTo>
                        <a:pt x="1003372" y="272927"/>
                        <a:pt x="992655" y="267226"/>
                        <a:pt x="984082" y="258674"/>
                      </a:cubicBezTo>
                      <a:cubicBezTo>
                        <a:pt x="984082" y="258674"/>
                        <a:pt x="984082" y="258674"/>
                        <a:pt x="934071" y="290742"/>
                      </a:cubicBezTo>
                      <a:cubicBezTo>
                        <a:pt x="934071" y="290742"/>
                        <a:pt x="934071" y="290742"/>
                        <a:pt x="902636" y="310696"/>
                      </a:cubicBezTo>
                      <a:cubicBezTo>
                        <a:pt x="902636" y="310696"/>
                        <a:pt x="902636" y="310696"/>
                        <a:pt x="852625" y="342764"/>
                      </a:cubicBezTo>
                      <a:cubicBezTo>
                        <a:pt x="852625" y="342764"/>
                        <a:pt x="852625" y="342764"/>
                        <a:pt x="817617" y="365568"/>
                      </a:cubicBezTo>
                      <a:cubicBezTo>
                        <a:pt x="817617" y="365568"/>
                        <a:pt x="817617" y="365568"/>
                        <a:pt x="786182" y="385521"/>
                      </a:cubicBezTo>
                      <a:cubicBezTo>
                        <a:pt x="789040" y="392648"/>
                        <a:pt x="790469" y="401199"/>
                        <a:pt x="790469" y="409751"/>
                      </a:cubicBezTo>
                      <a:cubicBezTo>
                        <a:pt x="790469" y="413314"/>
                        <a:pt x="790469" y="416877"/>
                        <a:pt x="789754" y="420440"/>
                      </a:cubicBezTo>
                      <a:cubicBezTo>
                        <a:pt x="784753" y="454646"/>
                        <a:pt x="754747" y="481013"/>
                        <a:pt x="719739" y="481013"/>
                      </a:cubicBezTo>
                      <a:cubicBezTo>
                        <a:pt x="679731" y="481013"/>
                        <a:pt x="648295" y="448945"/>
                        <a:pt x="648295" y="409751"/>
                      </a:cubicBezTo>
                      <a:cubicBezTo>
                        <a:pt x="648295" y="392648"/>
                        <a:pt x="654011" y="377682"/>
                        <a:pt x="663298" y="365568"/>
                      </a:cubicBezTo>
                      <a:cubicBezTo>
                        <a:pt x="663298" y="365568"/>
                        <a:pt x="663298" y="365568"/>
                        <a:pt x="577566" y="259387"/>
                      </a:cubicBezTo>
                      <a:cubicBezTo>
                        <a:pt x="567564" y="264375"/>
                        <a:pt x="556133" y="267938"/>
                        <a:pt x="544702" y="267938"/>
                      </a:cubicBezTo>
                      <a:cubicBezTo>
                        <a:pt x="529698" y="267938"/>
                        <a:pt x="515409" y="262950"/>
                        <a:pt x="503978" y="255111"/>
                      </a:cubicBezTo>
                      <a:cubicBezTo>
                        <a:pt x="503978" y="255111"/>
                        <a:pt x="503978" y="255111"/>
                        <a:pt x="404671" y="354878"/>
                      </a:cubicBezTo>
                      <a:cubicBezTo>
                        <a:pt x="409672" y="365568"/>
                        <a:pt x="413245" y="377682"/>
                        <a:pt x="413245" y="390510"/>
                      </a:cubicBezTo>
                      <a:cubicBezTo>
                        <a:pt x="413245" y="429704"/>
                        <a:pt x="382524" y="461772"/>
                        <a:pt x="343230" y="461772"/>
                      </a:cubicBezTo>
                      <a:cubicBezTo>
                        <a:pt x="303221" y="461772"/>
                        <a:pt x="271786" y="429704"/>
                        <a:pt x="271786" y="390510"/>
                      </a:cubicBezTo>
                      <a:cubicBezTo>
                        <a:pt x="271786" y="374832"/>
                        <a:pt x="276072" y="361292"/>
                        <a:pt x="284646" y="349890"/>
                      </a:cubicBezTo>
                      <a:cubicBezTo>
                        <a:pt x="284646" y="349890"/>
                        <a:pt x="284646" y="349890"/>
                        <a:pt x="217488" y="270789"/>
                      </a:cubicBezTo>
                      <a:cubicBezTo>
                        <a:pt x="218917" y="257249"/>
                        <a:pt x="221775" y="243709"/>
                        <a:pt x="224633" y="230169"/>
                      </a:cubicBezTo>
                      <a:cubicBezTo>
                        <a:pt x="224633" y="230169"/>
                        <a:pt x="224633" y="230169"/>
                        <a:pt x="307508" y="328511"/>
                      </a:cubicBezTo>
                      <a:cubicBezTo>
                        <a:pt x="318224" y="322810"/>
                        <a:pt x="330370" y="319247"/>
                        <a:pt x="343230" y="319247"/>
                      </a:cubicBezTo>
                      <a:cubicBezTo>
                        <a:pt x="358233" y="319247"/>
                        <a:pt x="371807" y="323523"/>
                        <a:pt x="383238" y="332074"/>
                      </a:cubicBezTo>
                      <a:cubicBezTo>
                        <a:pt x="383238" y="332074"/>
                        <a:pt x="383238" y="332074"/>
                        <a:pt x="482545" y="232307"/>
                      </a:cubicBezTo>
                      <a:cubicBezTo>
                        <a:pt x="476830" y="221618"/>
                        <a:pt x="473258" y="209503"/>
                        <a:pt x="473258" y="196676"/>
                      </a:cubicBezTo>
                      <a:cubicBezTo>
                        <a:pt x="473258" y="157481"/>
                        <a:pt x="504693" y="125413"/>
                        <a:pt x="544702" y="125413"/>
                      </a:cubicBezTo>
                      <a:close/>
                      <a:moveTo>
                        <a:pt x="62351" y="31750"/>
                      </a:moveTo>
                      <a:cubicBezTo>
                        <a:pt x="45271" y="31750"/>
                        <a:pt x="31750" y="45118"/>
                        <a:pt x="31750" y="62003"/>
                      </a:cubicBezTo>
                      <a:cubicBezTo>
                        <a:pt x="31750" y="78888"/>
                        <a:pt x="45271" y="93663"/>
                        <a:pt x="62351" y="93663"/>
                      </a:cubicBezTo>
                      <a:cubicBezTo>
                        <a:pt x="64486" y="93663"/>
                        <a:pt x="65909" y="92960"/>
                        <a:pt x="68044" y="92960"/>
                      </a:cubicBezTo>
                      <a:cubicBezTo>
                        <a:pt x="78719" y="90849"/>
                        <a:pt x="87970" y="82406"/>
                        <a:pt x="91528" y="72556"/>
                      </a:cubicBezTo>
                      <a:cubicBezTo>
                        <a:pt x="92952" y="69039"/>
                        <a:pt x="93663" y="65521"/>
                        <a:pt x="93663" y="62003"/>
                      </a:cubicBezTo>
                      <a:cubicBezTo>
                        <a:pt x="93663" y="45118"/>
                        <a:pt x="79430" y="31750"/>
                        <a:pt x="62351" y="31750"/>
                      </a:cubicBezTo>
                      <a:close/>
                      <a:moveTo>
                        <a:pt x="62151" y="0"/>
                      </a:moveTo>
                      <a:cubicBezTo>
                        <a:pt x="96441" y="0"/>
                        <a:pt x="125016" y="27691"/>
                        <a:pt x="125016" y="62482"/>
                      </a:cubicBezTo>
                      <a:cubicBezTo>
                        <a:pt x="125016" y="75972"/>
                        <a:pt x="120730" y="88043"/>
                        <a:pt x="113586" y="99403"/>
                      </a:cubicBezTo>
                      <a:cubicBezTo>
                        <a:pt x="113586" y="99403"/>
                        <a:pt x="113586" y="99403"/>
                        <a:pt x="142875" y="134194"/>
                      </a:cubicBezTo>
                      <a:cubicBezTo>
                        <a:pt x="138589" y="144844"/>
                        <a:pt x="134303" y="156915"/>
                        <a:pt x="130016" y="168275"/>
                      </a:cubicBezTo>
                      <a:cubicBezTo>
                        <a:pt x="130016" y="168275"/>
                        <a:pt x="130016" y="168275"/>
                        <a:pt x="89297" y="119284"/>
                      </a:cubicBezTo>
                      <a:cubicBezTo>
                        <a:pt x="81439" y="123544"/>
                        <a:pt x="72152" y="125674"/>
                        <a:pt x="62151" y="125674"/>
                      </a:cubicBezTo>
                      <a:cubicBezTo>
                        <a:pt x="27861" y="125674"/>
                        <a:pt x="0" y="97273"/>
                        <a:pt x="0" y="62482"/>
                      </a:cubicBezTo>
                      <a:cubicBezTo>
                        <a:pt x="0" y="27691"/>
                        <a:pt x="27861" y="0"/>
                        <a:pt x="6215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87" name="Group 86"/>
          <p:cNvGrpSpPr>
            <a:grpSpLocks/>
          </p:cNvGrpSpPr>
          <p:nvPr/>
        </p:nvGrpSpPr>
        <p:grpSpPr>
          <a:xfrm>
            <a:off x="544135" y="4326630"/>
            <a:ext cx="430298" cy="430298"/>
            <a:chOff x="754813" y="4113615"/>
            <a:chExt cx="537872" cy="537872"/>
          </a:xfrm>
        </p:grpSpPr>
        <p:sp>
          <p:nvSpPr>
            <p:cNvPr id="71" name="Oval 70"/>
            <p:cNvSpPr/>
            <p:nvPr/>
          </p:nvSpPr>
          <p:spPr>
            <a:xfrm>
              <a:off x="754813" y="4113615"/>
              <a:ext cx="537872" cy="537872"/>
            </a:xfrm>
            <a:prstGeom prst="ellipse">
              <a:avLst/>
            </a:prstGeom>
            <a:noFill/>
            <a:ln w="15240" cap="rnd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94" name="bcgIcons_Chemistry">
              <a:extLst>
                <a:ext uri="{FF2B5EF4-FFF2-40B4-BE49-F238E27FC236}">
                  <a16:creationId xmlns:a16="http://schemas.microsoft.com/office/drawing/2014/main" id="{A3F02006-09DD-4BA1-BA6E-503BEE9958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1082" y="4219734"/>
              <a:ext cx="325335" cy="325637"/>
              <a:chOff x="1682" y="0"/>
              <a:chExt cx="4316" cy="4320"/>
            </a:xfrm>
          </p:grpSpPr>
          <p:sp>
            <p:nvSpPr>
              <p:cNvPr id="95" name="AutoShape 33">
                <a:extLst>
                  <a:ext uri="{FF2B5EF4-FFF2-40B4-BE49-F238E27FC236}">
                    <a16:creationId xmlns:a16="http://schemas.microsoft.com/office/drawing/2014/main" id="{1D99D6D6-A50E-416A-9D1A-9C6DED98936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35">
                <a:extLst>
                  <a:ext uri="{FF2B5EF4-FFF2-40B4-BE49-F238E27FC236}">
                    <a16:creationId xmlns:a16="http://schemas.microsoft.com/office/drawing/2014/main" id="{7CF52ED9-3637-43AC-9340-2F4ECE519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" y="1106"/>
                <a:ext cx="2334" cy="3043"/>
              </a:xfrm>
              <a:custGeom>
                <a:avLst/>
                <a:gdLst>
                  <a:gd name="T0" fmla="*/ 1104 w 1246"/>
                  <a:gd name="T1" fmla="*/ 605 h 1623"/>
                  <a:gd name="T2" fmla="*/ 769 w 1246"/>
                  <a:gd name="T3" fmla="*/ 394 h 1623"/>
                  <a:gd name="T4" fmla="*/ 769 w 1246"/>
                  <a:gd name="T5" fmla="*/ 44 h 1623"/>
                  <a:gd name="T6" fmla="*/ 815 w 1246"/>
                  <a:gd name="T7" fmla="*/ 44 h 1623"/>
                  <a:gd name="T8" fmla="*/ 815 w 1246"/>
                  <a:gd name="T9" fmla="*/ 58 h 1623"/>
                  <a:gd name="T10" fmla="*/ 837 w 1246"/>
                  <a:gd name="T11" fmla="*/ 80 h 1623"/>
                  <a:gd name="T12" fmla="*/ 859 w 1246"/>
                  <a:gd name="T13" fmla="*/ 58 h 1623"/>
                  <a:gd name="T14" fmla="*/ 859 w 1246"/>
                  <a:gd name="T15" fmla="*/ 22 h 1623"/>
                  <a:gd name="T16" fmla="*/ 837 w 1246"/>
                  <a:gd name="T17" fmla="*/ 0 h 1623"/>
                  <a:gd name="T18" fmla="*/ 769 w 1246"/>
                  <a:gd name="T19" fmla="*/ 0 h 1623"/>
                  <a:gd name="T20" fmla="*/ 747 w 1246"/>
                  <a:gd name="T21" fmla="*/ 0 h 1623"/>
                  <a:gd name="T22" fmla="*/ 725 w 1246"/>
                  <a:gd name="T23" fmla="*/ 0 h 1623"/>
                  <a:gd name="T24" fmla="*/ 725 w 1246"/>
                  <a:gd name="T25" fmla="*/ 412 h 1623"/>
                  <a:gd name="T26" fmla="*/ 742 w 1246"/>
                  <a:gd name="T27" fmla="*/ 433 h 1623"/>
                  <a:gd name="T28" fmla="*/ 1202 w 1246"/>
                  <a:gd name="T29" fmla="*/ 1000 h 1623"/>
                  <a:gd name="T30" fmla="*/ 623 w 1246"/>
                  <a:gd name="T31" fmla="*/ 1579 h 1623"/>
                  <a:gd name="T32" fmla="*/ 44 w 1246"/>
                  <a:gd name="T33" fmla="*/ 1000 h 1623"/>
                  <a:gd name="T34" fmla="*/ 504 w 1246"/>
                  <a:gd name="T35" fmla="*/ 433 h 1623"/>
                  <a:gd name="T36" fmla="*/ 521 w 1246"/>
                  <a:gd name="T37" fmla="*/ 412 h 1623"/>
                  <a:gd name="T38" fmla="*/ 521 w 1246"/>
                  <a:gd name="T39" fmla="*/ 22 h 1623"/>
                  <a:gd name="T40" fmla="*/ 499 w 1246"/>
                  <a:gd name="T41" fmla="*/ 0 h 1623"/>
                  <a:gd name="T42" fmla="*/ 409 w 1246"/>
                  <a:gd name="T43" fmla="*/ 0 h 1623"/>
                  <a:gd name="T44" fmla="*/ 387 w 1246"/>
                  <a:gd name="T45" fmla="*/ 22 h 1623"/>
                  <a:gd name="T46" fmla="*/ 387 w 1246"/>
                  <a:gd name="T47" fmla="*/ 58 h 1623"/>
                  <a:gd name="T48" fmla="*/ 409 w 1246"/>
                  <a:gd name="T49" fmla="*/ 80 h 1623"/>
                  <a:gd name="T50" fmla="*/ 431 w 1246"/>
                  <a:gd name="T51" fmla="*/ 58 h 1623"/>
                  <a:gd name="T52" fmla="*/ 431 w 1246"/>
                  <a:gd name="T53" fmla="*/ 44 h 1623"/>
                  <a:gd name="T54" fmla="*/ 477 w 1246"/>
                  <a:gd name="T55" fmla="*/ 44 h 1623"/>
                  <a:gd name="T56" fmla="*/ 477 w 1246"/>
                  <a:gd name="T57" fmla="*/ 394 h 1623"/>
                  <a:gd name="T58" fmla="*/ 142 w 1246"/>
                  <a:gd name="T59" fmla="*/ 605 h 1623"/>
                  <a:gd name="T60" fmla="*/ 0 w 1246"/>
                  <a:gd name="T61" fmla="*/ 1000 h 1623"/>
                  <a:gd name="T62" fmla="*/ 623 w 1246"/>
                  <a:gd name="T63" fmla="*/ 1623 h 1623"/>
                  <a:gd name="T64" fmla="*/ 1246 w 1246"/>
                  <a:gd name="T65" fmla="*/ 1000 h 1623"/>
                  <a:gd name="T66" fmla="*/ 1104 w 1246"/>
                  <a:gd name="T67" fmla="*/ 605 h 1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46" h="1623">
                    <a:moveTo>
                      <a:pt x="1104" y="605"/>
                    </a:moveTo>
                    <a:cubicBezTo>
                      <a:pt x="1018" y="500"/>
                      <a:pt x="900" y="426"/>
                      <a:pt x="769" y="394"/>
                    </a:cubicBezTo>
                    <a:cubicBezTo>
                      <a:pt x="769" y="44"/>
                      <a:pt x="769" y="44"/>
                      <a:pt x="769" y="44"/>
                    </a:cubicBezTo>
                    <a:cubicBezTo>
                      <a:pt x="815" y="44"/>
                      <a:pt x="815" y="44"/>
                      <a:pt x="815" y="44"/>
                    </a:cubicBezTo>
                    <a:cubicBezTo>
                      <a:pt x="815" y="58"/>
                      <a:pt x="815" y="58"/>
                      <a:pt x="815" y="58"/>
                    </a:cubicBezTo>
                    <a:cubicBezTo>
                      <a:pt x="815" y="70"/>
                      <a:pt x="825" y="80"/>
                      <a:pt x="837" y="80"/>
                    </a:cubicBezTo>
                    <a:cubicBezTo>
                      <a:pt x="849" y="80"/>
                      <a:pt x="859" y="70"/>
                      <a:pt x="859" y="58"/>
                    </a:cubicBezTo>
                    <a:cubicBezTo>
                      <a:pt x="859" y="22"/>
                      <a:pt x="859" y="22"/>
                      <a:pt x="859" y="22"/>
                    </a:cubicBezTo>
                    <a:cubicBezTo>
                      <a:pt x="859" y="10"/>
                      <a:pt x="849" y="0"/>
                      <a:pt x="837" y="0"/>
                    </a:cubicBezTo>
                    <a:cubicBezTo>
                      <a:pt x="769" y="0"/>
                      <a:pt x="769" y="0"/>
                      <a:pt x="769" y="0"/>
                    </a:cubicBezTo>
                    <a:cubicBezTo>
                      <a:pt x="747" y="0"/>
                      <a:pt x="747" y="0"/>
                      <a:pt x="747" y="0"/>
                    </a:cubicBezTo>
                    <a:cubicBezTo>
                      <a:pt x="725" y="0"/>
                      <a:pt x="725" y="0"/>
                      <a:pt x="725" y="0"/>
                    </a:cubicBezTo>
                    <a:cubicBezTo>
                      <a:pt x="725" y="412"/>
                      <a:pt x="725" y="412"/>
                      <a:pt x="725" y="412"/>
                    </a:cubicBezTo>
                    <a:cubicBezTo>
                      <a:pt x="725" y="422"/>
                      <a:pt x="732" y="431"/>
                      <a:pt x="742" y="433"/>
                    </a:cubicBezTo>
                    <a:cubicBezTo>
                      <a:pt x="1009" y="489"/>
                      <a:pt x="1202" y="727"/>
                      <a:pt x="1202" y="1000"/>
                    </a:cubicBezTo>
                    <a:cubicBezTo>
                      <a:pt x="1202" y="1319"/>
                      <a:pt x="942" y="1579"/>
                      <a:pt x="623" y="1579"/>
                    </a:cubicBezTo>
                    <a:cubicBezTo>
                      <a:pt x="304" y="1579"/>
                      <a:pt x="44" y="1319"/>
                      <a:pt x="44" y="1000"/>
                    </a:cubicBezTo>
                    <a:cubicBezTo>
                      <a:pt x="44" y="727"/>
                      <a:pt x="237" y="489"/>
                      <a:pt x="504" y="433"/>
                    </a:cubicBezTo>
                    <a:cubicBezTo>
                      <a:pt x="514" y="431"/>
                      <a:pt x="521" y="422"/>
                      <a:pt x="521" y="412"/>
                    </a:cubicBezTo>
                    <a:cubicBezTo>
                      <a:pt x="521" y="22"/>
                      <a:pt x="521" y="22"/>
                      <a:pt x="521" y="22"/>
                    </a:cubicBezTo>
                    <a:cubicBezTo>
                      <a:pt x="521" y="10"/>
                      <a:pt x="511" y="0"/>
                      <a:pt x="499" y="0"/>
                    </a:cubicBezTo>
                    <a:cubicBezTo>
                      <a:pt x="409" y="0"/>
                      <a:pt x="409" y="0"/>
                      <a:pt x="409" y="0"/>
                    </a:cubicBezTo>
                    <a:cubicBezTo>
                      <a:pt x="397" y="0"/>
                      <a:pt x="387" y="10"/>
                      <a:pt x="387" y="22"/>
                    </a:cubicBezTo>
                    <a:cubicBezTo>
                      <a:pt x="387" y="58"/>
                      <a:pt x="387" y="58"/>
                      <a:pt x="387" y="58"/>
                    </a:cubicBezTo>
                    <a:cubicBezTo>
                      <a:pt x="387" y="70"/>
                      <a:pt x="397" y="80"/>
                      <a:pt x="409" y="80"/>
                    </a:cubicBezTo>
                    <a:cubicBezTo>
                      <a:pt x="421" y="80"/>
                      <a:pt x="431" y="70"/>
                      <a:pt x="431" y="58"/>
                    </a:cubicBezTo>
                    <a:cubicBezTo>
                      <a:pt x="431" y="44"/>
                      <a:pt x="431" y="44"/>
                      <a:pt x="431" y="44"/>
                    </a:cubicBezTo>
                    <a:cubicBezTo>
                      <a:pt x="477" y="44"/>
                      <a:pt x="477" y="44"/>
                      <a:pt x="477" y="44"/>
                    </a:cubicBezTo>
                    <a:cubicBezTo>
                      <a:pt x="477" y="394"/>
                      <a:pt x="477" y="394"/>
                      <a:pt x="477" y="394"/>
                    </a:cubicBezTo>
                    <a:cubicBezTo>
                      <a:pt x="346" y="426"/>
                      <a:pt x="228" y="500"/>
                      <a:pt x="142" y="605"/>
                    </a:cubicBezTo>
                    <a:cubicBezTo>
                      <a:pt x="50" y="716"/>
                      <a:pt x="0" y="856"/>
                      <a:pt x="0" y="1000"/>
                    </a:cubicBezTo>
                    <a:cubicBezTo>
                      <a:pt x="0" y="1343"/>
                      <a:pt x="280" y="1623"/>
                      <a:pt x="623" y="1623"/>
                    </a:cubicBezTo>
                    <a:cubicBezTo>
                      <a:pt x="966" y="1623"/>
                      <a:pt x="1246" y="1343"/>
                      <a:pt x="1246" y="1000"/>
                    </a:cubicBezTo>
                    <a:cubicBezTo>
                      <a:pt x="1246" y="856"/>
                      <a:pt x="1196" y="716"/>
                      <a:pt x="1104" y="60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36">
                <a:extLst>
                  <a:ext uri="{FF2B5EF4-FFF2-40B4-BE49-F238E27FC236}">
                    <a16:creationId xmlns:a16="http://schemas.microsoft.com/office/drawing/2014/main" id="{D1F8AEA5-E00D-4A7B-A7A2-A53E01FAC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2" y="172"/>
                <a:ext cx="1936" cy="3779"/>
              </a:xfrm>
              <a:custGeom>
                <a:avLst/>
                <a:gdLst>
                  <a:gd name="T0" fmla="*/ 517 w 1034"/>
                  <a:gd name="T1" fmla="*/ 981 h 2015"/>
                  <a:gd name="T2" fmla="*/ 0 w 1034"/>
                  <a:gd name="T3" fmla="*/ 1498 h 2015"/>
                  <a:gd name="T4" fmla="*/ 517 w 1034"/>
                  <a:gd name="T5" fmla="*/ 2015 h 2015"/>
                  <a:gd name="T6" fmla="*/ 1034 w 1034"/>
                  <a:gd name="T7" fmla="*/ 1498 h 2015"/>
                  <a:gd name="T8" fmla="*/ 517 w 1034"/>
                  <a:gd name="T9" fmla="*/ 981 h 2015"/>
                  <a:gd name="T10" fmla="*/ 293 w 1034"/>
                  <a:gd name="T11" fmla="*/ 1376 h 2015"/>
                  <a:gd name="T12" fmla="*/ 249 w 1034"/>
                  <a:gd name="T13" fmla="*/ 1330 h 2015"/>
                  <a:gd name="T14" fmla="*/ 293 w 1034"/>
                  <a:gd name="T15" fmla="*/ 1284 h 2015"/>
                  <a:gd name="T16" fmla="*/ 339 w 1034"/>
                  <a:gd name="T17" fmla="*/ 1330 h 2015"/>
                  <a:gd name="T18" fmla="*/ 293 w 1034"/>
                  <a:gd name="T19" fmla="*/ 1376 h 2015"/>
                  <a:gd name="T20" fmla="*/ 386 w 1034"/>
                  <a:gd name="T21" fmla="*/ 1750 h 2015"/>
                  <a:gd name="T22" fmla="*/ 358 w 1034"/>
                  <a:gd name="T23" fmla="*/ 1722 h 2015"/>
                  <a:gd name="T24" fmla="*/ 386 w 1034"/>
                  <a:gd name="T25" fmla="*/ 1696 h 2015"/>
                  <a:gd name="T26" fmla="*/ 412 w 1034"/>
                  <a:gd name="T27" fmla="*/ 1722 h 2015"/>
                  <a:gd name="T28" fmla="*/ 386 w 1034"/>
                  <a:gd name="T29" fmla="*/ 1750 h 2015"/>
                  <a:gd name="T30" fmla="*/ 412 w 1034"/>
                  <a:gd name="T31" fmla="*/ 1124 h 2015"/>
                  <a:gd name="T32" fmla="*/ 462 w 1034"/>
                  <a:gd name="T33" fmla="*/ 1074 h 2015"/>
                  <a:gd name="T34" fmla="*/ 513 w 1034"/>
                  <a:gd name="T35" fmla="*/ 1124 h 2015"/>
                  <a:gd name="T36" fmla="*/ 462 w 1034"/>
                  <a:gd name="T37" fmla="*/ 1176 h 2015"/>
                  <a:gd name="T38" fmla="*/ 412 w 1034"/>
                  <a:gd name="T39" fmla="*/ 1124 h 2015"/>
                  <a:gd name="T40" fmla="*/ 523 w 1034"/>
                  <a:gd name="T41" fmla="*/ 1914 h 2015"/>
                  <a:gd name="T42" fmla="*/ 486 w 1034"/>
                  <a:gd name="T43" fmla="*/ 1878 h 2015"/>
                  <a:gd name="T44" fmla="*/ 523 w 1034"/>
                  <a:gd name="T45" fmla="*/ 1842 h 2015"/>
                  <a:gd name="T46" fmla="*/ 558 w 1034"/>
                  <a:gd name="T47" fmla="*/ 1878 h 2015"/>
                  <a:gd name="T48" fmla="*/ 523 w 1034"/>
                  <a:gd name="T49" fmla="*/ 1914 h 2015"/>
                  <a:gd name="T50" fmla="*/ 536 w 1034"/>
                  <a:gd name="T51" fmla="*/ 1577 h 2015"/>
                  <a:gd name="T52" fmla="*/ 475 w 1034"/>
                  <a:gd name="T53" fmla="*/ 1518 h 2015"/>
                  <a:gd name="T54" fmla="*/ 536 w 1034"/>
                  <a:gd name="T55" fmla="*/ 1457 h 2015"/>
                  <a:gd name="T56" fmla="*/ 595 w 1034"/>
                  <a:gd name="T57" fmla="*/ 1518 h 2015"/>
                  <a:gd name="T58" fmla="*/ 536 w 1034"/>
                  <a:gd name="T59" fmla="*/ 1577 h 2015"/>
                  <a:gd name="T60" fmla="*/ 673 w 1034"/>
                  <a:gd name="T61" fmla="*/ 1339 h 2015"/>
                  <a:gd name="T62" fmla="*/ 641 w 1034"/>
                  <a:gd name="T63" fmla="*/ 1307 h 2015"/>
                  <a:gd name="T64" fmla="*/ 673 w 1034"/>
                  <a:gd name="T65" fmla="*/ 1275 h 2015"/>
                  <a:gd name="T66" fmla="*/ 705 w 1034"/>
                  <a:gd name="T67" fmla="*/ 1307 h 2015"/>
                  <a:gd name="T68" fmla="*/ 673 w 1034"/>
                  <a:gd name="T69" fmla="*/ 1339 h 2015"/>
                  <a:gd name="T70" fmla="*/ 525 w 1034"/>
                  <a:gd name="T71" fmla="*/ 453 h 2015"/>
                  <a:gd name="T72" fmla="*/ 425 w 1034"/>
                  <a:gd name="T73" fmla="*/ 353 h 2015"/>
                  <a:gd name="T74" fmla="*/ 525 w 1034"/>
                  <a:gd name="T75" fmla="*/ 253 h 2015"/>
                  <a:gd name="T76" fmla="*/ 625 w 1034"/>
                  <a:gd name="T77" fmla="*/ 353 h 2015"/>
                  <a:gd name="T78" fmla="*/ 525 w 1034"/>
                  <a:gd name="T79" fmla="*/ 453 h 2015"/>
                  <a:gd name="T80" fmla="*/ 407 w 1034"/>
                  <a:gd name="T81" fmla="*/ 220 h 2015"/>
                  <a:gd name="T82" fmla="*/ 352 w 1034"/>
                  <a:gd name="T83" fmla="*/ 165 h 2015"/>
                  <a:gd name="T84" fmla="*/ 407 w 1034"/>
                  <a:gd name="T85" fmla="*/ 110 h 2015"/>
                  <a:gd name="T86" fmla="*/ 462 w 1034"/>
                  <a:gd name="T87" fmla="*/ 165 h 2015"/>
                  <a:gd name="T88" fmla="*/ 407 w 1034"/>
                  <a:gd name="T89" fmla="*/ 220 h 2015"/>
                  <a:gd name="T90" fmla="*/ 580 w 1034"/>
                  <a:gd name="T91" fmla="*/ 94 h 2015"/>
                  <a:gd name="T92" fmla="*/ 533 w 1034"/>
                  <a:gd name="T93" fmla="*/ 47 h 2015"/>
                  <a:gd name="T94" fmla="*/ 580 w 1034"/>
                  <a:gd name="T95" fmla="*/ 0 h 2015"/>
                  <a:gd name="T96" fmla="*/ 627 w 1034"/>
                  <a:gd name="T97" fmla="*/ 47 h 2015"/>
                  <a:gd name="T98" fmla="*/ 580 w 1034"/>
                  <a:gd name="T99" fmla="*/ 94 h 20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34" h="2015">
                    <a:moveTo>
                      <a:pt x="517" y="981"/>
                    </a:moveTo>
                    <a:cubicBezTo>
                      <a:pt x="231" y="981"/>
                      <a:pt x="0" y="1212"/>
                      <a:pt x="0" y="1498"/>
                    </a:cubicBezTo>
                    <a:cubicBezTo>
                      <a:pt x="0" y="1783"/>
                      <a:pt x="231" y="2015"/>
                      <a:pt x="517" y="2015"/>
                    </a:cubicBezTo>
                    <a:cubicBezTo>
                      <a:pt x="803" y="2015"/>
                      <a:pt x="1034" y="1783"/>
                      <a:pt x="1034" y="1498"/>
                    </a:cubicBezTo>
                    <a:cubicBezTo>
                      <a:pt x="1034" y="1212"/>
                      <a:pt x="803" y="981"/>
                      <a:pt x="517" y="981"/>
                    </a:cubicBezTo>
                    <a:close/>
                    <a:moveTo>
                      <a:pt x="293" y="1376"/>
                    </a:moveTo>
                    <a:cubicBezTo>
                      <a:pt x="269" y="1376"/>
                      <a:pt x="249" y="1356"/>
                      <a:pt x="249" y="1330"/>
                    </a:cubicBezTo>
                    <a:cubicBezTo>
                      <a:pt x="249" y="1305"/>
                      <a:pt x="269" y="1284"/>
                      <a:pt x="293" y="1284"/>
                    </a:cubicBezTo>
                    <a:cubicBezTo>
                      <a:pt x="319" y="1284"/>
                      <a:pt x="339" y="1305"/>
                      <a:pt x="339" y="1330"/>
                    </a:cubicBezTo>
                    <a:cubicBezTo>
                      <a:pt x="339" y="1356"/>
                      <a:pt x="319" y="1376"/>
                      <a:pt x="293" y="1376"/>
                    </a:cubicBezTo>
                    <a:close/>
                    <a:moveTo>
                      <a:pt x="386" y="1750"/>
                    </a:moveTo>
                    <a:cubicBezTo>
                      <a:pt x="371" y="1750"/>
                      <a:pt x="358" y="1737"/>
                      <a:pt x="358" y="1722"/>
                    </a:cubicBezTo>
                    <a:cubicBezTo>
                      <a:pt x="358" y="1707"/>
                      <a:pt x="371" y="1696"/>
                      <a:pt x="386" y="1696"/>
                    </a:cubicBezTo>
                    <a:cubicBezTo>
                      <a:pt x="401" y="1696"/>
                      <a:pt x="412" y="1707"/>
                      <a:pt x="412" y="1722"/>
                    </a:cubicBezTo>
                    <a:cubicBezTo>
                      <a:pt x="412" y="1737"/>
                      <a:pt x="401" y="1750"/>
                      <a:pt x="386" y="1750"/>
                    </a:cubicBezTo>
                    <a:close/>
                    <a:moveTo>
                      <a:pt x="412" y="1124"/>
                    </a:moveTo>
                    <a:cubicBezTo>
                      <a:pt x="412" y="1097"/>
                      <a:pt x="434" y="1074"/>
                      <a:pt x="462" y="1074"/>
                    </a:cubicBezTo>
                    <a:cubicBezTo>
                      <a:pt x="491" y="1074"/>
                      <a:pt x="513" y="1097"/>
                      <a:pt x="513" y="1124"/>
                    </a:cubicBezTo>
                    <a:cubicBezTo>
                      <a:pt x="513" y="1153"/>
                      <a:pt x="491" y="1176"/>
                      <a:pt x="462" y="1176"/>
                    </a:cubicBezTo>
                    <a:cubicBezTo>
                      <a:pt x="434" y="1176"/>
                      <a:pt x="412" y="1153"/>
                      <a:pt x="412" y="1124"/>
                    </a:cubicBezTo>
                    <a:close/>
                    <a:moveTo>
                      <a:pt x="523" y="1914"/>
                    </a:moveTo>
                    <a:cubicBezTo>
                      <a:pt x="502" y="1914"/>
                      <a:pt x="486" y="1899"/>
                      <a:pt x="486" y="1878"/>
                    </a:cubicBezTo>
                    <a:cubicBezTo>
                      <a:pt x="486" y="1857"/>
                      <a:pt x="502" y="1842"/>
                      <a:pt x="523" y="1842"/>
                    </a:cubicBezTo>
                    <a:cubicBezTo>
                      <a:pt x="541" y="1842"/>
                      <a:pt x="558" y="1857"/>
                      <a:pt x="558" y="1878"/>
                    </a:cubicBezTo>
                    <a:cubicBezTo>
                      <a:pt x="558" y="1899"/>
                      <a:pt x="541" y="1914"/>
                      <a:pt x="523" y="1914"/>
                    </a:cubicBezTo>
                    <a:close/>
                    <a:moveTo>
                      <a:pt x="536" y="1577"/>
                    </a:moveTo>
                    <a:cubicBezTo>
                      <a:pt x="504" y="1577"/>
                      <a:pt x="475" y="1549"/>
                      <a:pt x="475" y="1518"/>
                    </a:cubicBezTo>
                    <a:cubicBezTo>
                      <a:pt x="475" y="1483"/>
                      <a:pt x="504" y="1457"/>
                      <a:pt x="536" y="1457"/>
                    </a:cubicBezTo>
                    <a:cubicBezTo>
                      <a:pt x="568" y="1457"/>
                      <a:pt x="595" y="1483"/>
                      <a:pt x="595" y="1518"/>
                    </a:cubicBezTo>
                    <a:cubicBezTo>
                      <a:pt x="595" y="1549"/>
                      <a:pt x="568" y="1577"/>
                      <a:pt x="536" y="1577"/>
                    </a:cubicBezTo>
                    <a:close/>
                    <a:moveTo>
                      <a:pt x="673" y="1339"/>
                    </a:moveTo>
                    <a:cubicBezTo>
                      <a:pt x="656" y="1339"/>
                      <a:pt x="641" y="1326"/>
                      <a:pt x="641" y="1307"/>
                    </a:cubicBezTo>
                    <a:cubicBezTo>
                      <a:pt x="641" y="1290"/>
                      <a:pt x="656" y="1275"/>
                      <a:pt x="673" y="1275"/>
                    </a:cubicBezTo>
                    <a:cubicBezTo>
                      <a:pt x="690" y="1275"/>
                      <a:pt x="705" y="1290"/>
                      <a:pt x="705" y="1307"/>
                    </a:cubicBezTo>
                    <a:cubicBezTo>
                      <a:pt x="705" y="1326"/>
                      <a:pt x="690" y="1339"/>
                      <a:pt x="673" y="1339"/>
                    </a:cubicBezTo>
                    <a:close/>
                    <a:moveTo>
                      <a:pt x="525" y="453"/>
                    </a:moveTo>
                    <a:cubicBezTo>
                      <a:pt x="470" y="453"/>
                      <a:pt x="425" y="408"/>
                      <a:pt x="425" y="353"/>
                    </a:cubicBezTo>
                    <a:cubicBezTo>
                      <a:pt x="425" y="298"/>
                      <a:pt x="470" y="253"/>
                      <a:pt x="525" y="253"/>
                    </a:cubicBezTo>
                    <a:cubicBezTo>
                      <a:pt x="580" y="253"/>
                      <a:pt x="625" y="298"/>
                      <a:pt x="625" y="353"/>
                    </a:cubicBezTo>
                    <a:cubicBezTo>
                      <a:pt x="625" y="408"/>
                      <a:pt x="580" y="453"/>
                      <a:pt x="525" y="453"/>
                    </a:cubicBezTo>
                    <a:close/>
                    <a:moveTo>
                      <a:pt x="407" y="220"/>
                    </a:moveTo>
                    <a:cubicBezTo>
                      <a:pt x="377" y="220"/>
                      <a:pt x="352" y="195"/>
                      <a:pt x="352" y="165"/>
                    </a:cubicBezTo>
                    <a:cubicBezTo>
                      <a:pt x="352" y="135"/>
                      <a:pt x="377" y="110"/>
                      <a:pt x="407" y="110"/>
                    </a:cubicBezTo>
                    <a:cubicBezTo>
                      <a:pt x="438" y="110"/>
                      <a:pt x="462" y="135"/>
                      <a:pt x="462" y="165"/>
                    </a:cubicBezTo>
                    <a:cubicBezTo>
                      <a:pt x="462" y="195"/>
                      <a:pt x="438" y="220"/>
                      <a:pt x="407" y="220"/>
                    </a:cubicBezTo>
                    <a:close/>
                    <a:moveTo>
                      <a:pt x="580" y="94"/>
                    </a:moveTo>
                    <a:cubicBezTo>
                      <a:pt x="554" y="94"/>
                      <a:pt x="533" y="73"/>
                      <a:pt x="533" y="47"/>
                    </a:cubicBezTo>
                    <a:cubicBezTo>
                      <a:pt x="533" y="21"/>
                      <a:pt x="554" y="0"/>
                      <a:pt x="580" y="0"/>
                    </a:cubicBezTo>
                    <a:cubicBezTo>
                      <a:pt x="606" y="0"/>
                      <a:pt x="627" y="21"/>
                      <a:pt x="627" y="47"/>
                    </a:cubicBezTo>
                    <a:cubicBezTo>
                      <a:pt x="627" y="73"/>
                      <a:pt x="606" y="94"/>
                      <a:pt x="580" y="9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3" name="Group 92"/>
          <p:cNvGrpSpPr>
            <a:grpSpLocks/>
          </p:cNvGrpSpPr>
          <p:nvPr/>
        </p:nvGrpSpPr>
        <p:grpSpPr>
          <a:xfrm>
            <a:off x="544135" y="4819579"/>
            <a:ext cx="430298" cy="430298"/>
            <a:chOff x="754813" y="4745900"/>
            <a:chExt cx="537872" cy="537872"/>
          </a:xfrm>
        </p:grpSpPr>
        <p:sp>
          <p:nvSpPr>
            <p:cNvPr id="72" name="Oval 71"/>
            <p:cNvSpPr/>
            <p:nvPr/>
          </p:nvSpPr>
          <p:spPr>
            <a:xfrm>
              <a:off x="754813" y="4745900"/>
              <a:ext cx="537872" cy="537872"/>
            </a:xfrm>
            <a:prstGeom prst="ellipse">
              <a:avLst/>
            </a:prstGeom>
            <a:noFill/>
            <a:ln w="15240" cap="rnd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00" name="Group 99"/>
            <p:cNvGrpSpPr>
              <a:grpSpLocks noChangeAspect="1"/>
            </p:cNvGrpSpPr>
            <p:nvPr/>
          </p:nvGrpSpPr>
          <p:grpSpPr>
            <a:xfrm>
              <a:off x="826922" y="4817825"/>
              <a:ext cx="393655" cy="394021"/>
              <a:chOff x="5273801" y="2606040"/>
              <a:chExt cx="1644396" cy="1645920"/>
            </a:xfrm>
          </p:grpSpPr>
          <p:sp>
            <p:nvSpPr>
              <p:cNvPr id="101" name="AutoShape 23">
                <a:extLst>
                  <a:ext uri="{FF2B5EF4-FFF2-40B4-BE49-F238E27FC236}">
                    <a16:creationId xmlns:a16="http://schemas.microsoft.com/office/drawing/2014/main" id="{21145B1E-CDCB-4DD6-B1E9-AD669D7521D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2" name="Group 101"/>
              <p:cNvGrpSpPr/>
              <p:nvPr/>
            </p:nvGrpSpPr>
            <p:grpSpPr>
              <a:xfrm>
                <a:off x="5343905" y="2928366"/>
                <a:ext cx="1505712" cy="995553"/>
                <a:chOff x="5343905" y="2928366"/>
                <a:chExt cx="1505712" cy="995553"/>
              </a:xfrm>
            </p:grpSpPr>
            <p:sp>
              <p:nvSpPr>
                <p:cNvPr id="103" name="Freeform 25">
                  <a:extLst>
                    <a:ext uri="{FF2B5EF4-FFF2-40B4-BE49-F238E27FC236}">
                      <a16:creationId xmlns:a16="http://schemas.microsoft.com/office/drawing/2014/main" id="{9F947C49-F917-4AD1-B35C-097F99CCE4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96330" y="2928366"/>
                  <a:ext cx="1153287" cy="654177"/>
                </a:xfrm>
                <a:custGeom>
                  <a:avLst/>
                  <a:gdLst>
                    <a:gd name="T0" fmla="*/ 1610 w 1616"/>
                    <a:gd name="T1" fmla="*/ 362 h 916"/>
                    <a:gd name="T2" fmla="*/ 1552 w 1616"/>
                    <a:gd name="T3" fmla="*/ 327 h 916"/>
                    <a:gd name="T4" fmla="*/ 1530 w 1616"/>
                    <a:gd name="T5" fmla="*/ 261 h 916"/>
                    <a:gd name="T6" fmla="*/ 1495 w 1616"/>
                    <a:gd name="T7" fmla="*/ 196 h 916"/>
                    <a:gd name="T8" fmla="*/ 1508 w 1616"/>
                    <a:gd name="T9" fmla="*/ 130 h 916"/>
                    <a:gd name="T10" fmla="*/ 1369 w 1616"/>
                    <a:gd name="T11" fmla="*/ 28 h 916"/>
                    <a:gd name="T12" fmla="*/ 1309 w 1616"/>
                    <a:gd name="T13" fmla="*/ 62 h 916"/>
                    <a:gd name="T14" fmla="*/ 1178 w 1616"/>
                    <a:gd name="T15" fmla="*/ 47 h 916"/>
                    <a:gd name="T16" fmla="*/ 1127 w 1616"/>
                    <a:gd name="T17" fmla="*/ 0 h 916"/>
                    <a:gd name="T18" fmla="*/ 1043 w 1616"/>
                    <a:gd name="T19" fmla="*/ 26 h 916"/>
                    <a:gd name="T20" fmla="*/ 967 w 1616"/>
                    <a:gd name="T21" fmla="*/ 69 h 916"/>
                    <a:gd name="T22" fmla="*/ 967 w 1616"/>
                    <a:gd name="T23" fmla="*/ 140 h 916"/>
                    <a:gd name="T24" fmla="*/ 886 w 1616"/>
                    <a:gd name="T25" fmla="*/ 246 h 916"/>
                    <a:gd name="T26" fmla="*/ 821 w 1616"/>
                    <a:gd name="T27" fmla="*/ 267 h 916"/>
                    <a:gd name="T28" fmla="*/ 798 w 1616"/>
                    <a:gd name="T29" fmla="*/ 441 h 916"/>
                    <a:gd name="T30" fmla="*/ 856 w 1616"/>
                    <a:gd name="T31" fmla="*/ 475 h 916"/>
                    <a:gd name="T32" fmla="*/ 879 w 1616"/>
                    <a:gd name="T33" fmla="*/ 546 h 916"/>
                    <a:gd name="T34" fmla="*/ 912 w 1616"/>
                    <a:gd name="T35" fmla="*/ 607 h 916"/>
                    <a:gd name="T36" fmla="*/ 896 w 1616"/>
                    <a:gd name="T37" fmla="*/ 673 h 916"/>
                    <a:gd name="T38" fmla="*/ 1031 w 1616"/>
                    <a:gd name="T39" fmla="*/ 777 h 916"/>
                    <a:gd name="T40" fmla="*/ 1089 w 1616"/>
                    <a:gd name="T41" fmla="*/ 743 h 916"/>
                    <a:gd name="T42" fmla="*/ 1236 w 1616"/>
                    <a:gd name="T43" fmla="*/ 762 h 916"/>
                    <a:gd name="T44" fmla="*/ 1287 w 1616"/>
                    <a:gd name="T45" fmla="*/ 808 h 916"/>
                    <a:gd name="T46" fmla="*/ 1366 w 1616"/>
                    <a:gd name="T47" fmla="*/ 783 h 916"/>
                    <a:gd name="T48" fmla="*/ 1440 w 1616"/>
                    <a:gd name="T49" fmla="*/ 741 h 916"/>
                    <a:gd name="T50" fmla="*/ 1440 w 1616"/>
                    <a:gd name="T51" fmla="*/ 673 h 916"/>
                    <a:gd name="T52" fmla="*/ 1528 w 1616"/>
                    <a:gd name="T53" fmla="*/ 552 h 916"/>
                    <a:gd name="T54" fmla="*/ 1591 w 1616"/>
                    <a:gd name="T55" fmla="*/ 532 h 916"/>
                    <a:gd name="T56" fmla="*/ 1610 w 1616"/>
                    <a:gd name="T57" fmla="*/ 362 h 916"/>
                    <a:gd name="T58" fmla="*/ 1276 w 1616"/>
                    <a:gd name="T59" fmla="*/ 569 h 916"/>
                    <a:gd name="T60" fmla="*/ 1041 w 1616"/>
                    <a:gd name="T61" fmla="*/ 475 h 916"/>
                    <a:gd name="T62" fmla="*/ 1133 w 1616"/>
                    <a:gd name="T63" fmla="*/ 239 h 916"/>
                    <a:gd name="T64" fmla="*/ 1367 w 1616"/>
                    <a:gd name="T65" fmla="*/ 333 h 916"/>
                    <a:gd name="T66" fmla="*/ 1276 w 1616"/>
                    <a:gd name="T67" fmla="*/ 569 h 916"/>
                    <a:gd name="T68" fmla="*/ 187 w 1616"/>
                    <a:gd name="T69" fmla="*/ 916 h 916"/>
                    <a:gd name="T70" fmla="*/ 0 w 1616"/>
                    <a:gd name="T71" fmla="*/ 729 h 916"/>
                    <a:gd name="T72" fmla="*/ 187 w 1616"/>
                    <a:gd name="T73" fmla="*/ 541 h 916"/>
                    <a:gd name="T74" fmla="*/ 375 w 1616"/>
                    <a:gd name="T75" fmla="*/ 729 h 916"/>
                    <a:gd name="T76" fmla="*/ 187 w 1616"/>
                    <a:gd name="T77" fmla="*/ 916 h 9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616" h="916">
                      <a:moveTo>
                        <a:pt x="1610" y="362"/>
                      </a:moveTo>
                      <a:cubicBezTo>
                        <a:pt x="1552" y="327"/>
                        <a:pt x="1552" y="327"/>
                        <a:pt x="1552" y="327"/>
                      </a:cubicBezTo>
                      <a:cubicBezTo>
                        <a:pt x="1547" y="305"/>
                        <a:pt x="1539" y="283"/>
                        <a:pt x="1530" y="261"/>
                      </a:cubicBezTo>
                      <a:cubicBezTo>
                        <a:pt x="1521" y="239"/>
                        <a:pt x="1508" y="217"/>
                        <a:pt x="1495" y="196"/>
                      </a:cubicBezTo>
                      <a:cubicBezTo>
                        <a:pt x="1508" y="130"/>
                        <a:pt x="1508" y="130"/>
                        <a:pt x="1508" y="130"/>
                      </a:cubicBezTo>
                      <a:cubicBezTo>
                        <a:pt x="1470" y="87"/>
                        <a:pt x="1421" y="51"/>
                        <a:pt x="1369" y="28"/>
                      </a:cubicBezTo>
                      <a:cubicBezTo>
                        <a:pt x="1309" y="62"/>
                        <a:pt x="1309" y="62"/>
                        <a:pt x="1309" y="62"/>
                      </a:cubicBezTo>
                      <a:cubicBezTo>
                        <a:pt x="1266" y="48"/>
                        <a:pt x="1223" y="43"/>
                        <a:pt x="1178" y="47"/>
                      </a:cubicBezTo>
                      <a:cubicBezTo>
                        <a:pt x="1127" y="0"/>
                        <a:pt x="1127" y="0"/>
                        <a:pt x="1127" y="0"/>
                      </a:cubicBezTo>
                      <a:cubicBezTo>
                        <a:pt x="1099" y="6"/>
                        <a:pt x="1071" y="13"/>
                        <a:pt x="1043" y="26"/>
                      </a:cubicBezTo>
                      <a:cubicBezTo>
                        <a:pt x="1016" y="38"/>
                        <a:pt x="989" y="53"/>
                        <a:pt x="967" y="69"/>
                      </a:cubicBezTo>
                      <a:cubicBezTo>
                        <a:pt x="967" y="140"/>
                        <a:pt x="967" y="140"/>
                        <a:pt x="967" y="140"/>
                      </a:cubicBezTo>
                      <a:cubicBezTo>
                        <a:pt x="933" y="171"/>
                        <a:pt x="905" y="206"/>
                        <a:pt x="886" y="246"/>
                      </a:cubicBezTo>
                      <a:cubicBezTo>
                        <a:pt x="821" y="267"/>
                        <a:pt x="821" y="267"/>
                        <a:pt x="821" y="267"/>
                      </a:cubicBezTo>
                      <a:cubicBezTo>
                        <a:pt x="801" y="321"/>
                        <a:pt x="794" y="380"/>
                        <a:pt x="798" y="441"/>
                      </a:cubicBezTo>
                      <a:cubicBezTo>
                        <a:pt x="856" y="475"/>
                        <a:pt x="856" y="475"/>
                        <a:pt x="856" y="475"/>
                      </a:cubicBezTo>
                      <a:cubicBezTo>
                        <a:pt x="861" y="498"/>
                        <a:pt x="868" y="523"/>
                        <a:pt x="879" y="546"/>
                      </a:cubicBezTo>
                      <a:cubicBezTo>
                        <a:pt x="889" y="567"/>
                        <a:pt x="899" y="588"/>
                        <a:pt x="912" y="607"/>
                      </a:cubicBezTo>
                      <a:cubicBezTo>
                        <a:pt x="896" y="673"/>
                        <a:pt x="896" y="673"/>
                        <a:pt x="896" y="673"/>
                      </a:cubicBezTo>
                      <a:cubicBezTo>
                        <a:pt x="934" y="718"/>
                        <a:pt x="980" y="752"/>
                        <a:pt x="1031" y="777"/>
                      </a:cubicBezTo>
                      <a:cubicBezTo>
                        <a:pt x="1089" y="743"/>
                        <a:pt x="1089" y="743"/>
                        <a:pt x="1089" y="743"/>
                      </a:cubicBezTo>
                      <a:cubicBezTo>
                        <a:pt x="1136" y="760"/>
                        <a:pt x="1185" y="766"/>
                        <a:pt x="1236" y="762"/>
                      </a:cubicBezTo>
                      <a:cubicBezTo>
                        <a:pt x="1287" y="808"/>
                        <a:pt x="1287" y="808"/>
                        <a:pt x="1287" y="808"/>
                      </a:cubicBezTo>
                      <a:cubicBezTo>
                        <a:pt x="1312" y="802"/>
                        <a:pt x="1340" y="794"/>
                        <a:pt x="1366" y="783"/>
                      </a:cubicBezTo>
                      <a:cubicBezTo>
                        <a:pt x="1392" y="771"/>
                        <a:pt x="1416" y="757"/>
                        <a:pt x="1440" y="741"/>
                      </a:cubicBezTo>
                      <a:cubicBezTo>
                        <a:pt x="1440" y="673"/>
                        <a:pt x="1440" y="673"/>
                        <a:pt x="1440" y="673"/>
                      </a:cubicBezTo>
                      <a:cubicBezTo>
                        <a:pt x="1477" y="639"/>
                        <a:pt x="1507" y="597"/>
                        <a:pt x="1528" y="552"/>
                      </a:cubicBezTo>
                      <a:cubicBezTo>
                        <a:pt x="1591" y="532"/>
                        <a:pt x="1591" y="532"/>
                        <a:pt x="1591" y="532"/>
                      </a:cubicBezTo>
                      <a:cubicBezTo>
                        <a:pt x="1610" y="479"/>
                        <a:pt x="1616" y="420"/>
                        <a:pt x="1610" y="362"/>
                      </a:cubicBezTo>
                      <a:close/>
                      <a:moveTo>
                        <a:pt x="1276" y="569"/>
                      </a:moveTo>
                      <a:cubicBezTo>
                        <a:pt x="1185" y="610"/>
                        <a:pt x="1080" y="566"/>
                        <a:pt x="1041" y="475"/>
                      </a:cubicBezTo>
                      <a:cubicBezTo>
                        <a:pt x="1002" y="383"/>
                        <a:pt x="1043" y="278"/>
                        <a:pt x="1133" y="239"/>
                      </a:cubicBezTo>
                      <a:cubicBezTo>
                        <a:pt x="1224" y="199"/>
                        <a:pt x="1330" y="242"/>
                        <a:pt x="1367" y="333"/>
                      </a:cubicBezTo>
                      <a:cubicBezTo>
                        <a:pt x="1407" y="424"/>
                        <a:pt x="1366" y="531"/>
                        <a:pt x="1276" y="569"/>
                      </a:cubicBezTo>
                      <a:close/>
                      <a:moveTo>
                        <a:pt x="187" y="916"/>
                      </a:moveTo>
                      <a:cubicBezTo>
                        <a:pt x="84" y="916"/>
                        <a:pt x="0" y="832"/>
                        <a:pt x="0" y="729"/>
                      </a:cubicBezTo>
                      <a:cubicBezTo>
                        <a:pt x="0" y="625"/>
                        <a:pt x="84" y="541"/>
                        <a:pt x="187" y="541"/>
                      </a:cubicBezTo>
                      <a:cubicBezTo>
                        <a:pt x="291" y="541"/>
                        <a:pt x="375" y="625"/>
                        <a:pt x="375" y="729"/>
                      </a:cubicBezTo>
                      <a:cubicBezTo>
                        <a:pt x="375" y="832"/>
                        <a:pt x="291" y="916"/>
                        <a:pt x="187" y="916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26">
                  <a:extLst>
                    <a:ext uri="{FF2B5EF4-FFF2-40B4-BE49-F238E27FC236}">
                      <a16:creationId xmlns:a16="http://schemas.microsoft.com/office/drawing/2014/main" id="{E2588303-321C-498F-B014-B990AEEA72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43905" y="2961132"/>
                  <a:ext cx="971931" cy="962787"/>
                </a:xfrm>
                <a:custGeom>
                  <a:avLst/>
                  <a:gdLst>
                    <a:gd name="T0" fmla="*/ 638 w 1362"/>
                    <a:gd name="T1" fmla="*/ 1242 h 1348"/>
                    <a:gd name="T2" fmla="*/ 448 w 1362"/>
                    <a:gd name="T3" fmla="*/ 1319 h 1348"/>
                    <a:gd name="T4" fmla="*/ 352 w 1362"/>
                    <a:gd name="T5" fmla="*/ 1146 h 1348"/>
                    <a:gd name="T6" fmla="*/ 141 w 1362"/>
                    <a:gd name="T7" fmla="*/ 1095 h 1348"/>
                    <a:gd name="T8" fmla="*/ 46 w 1362"/>
                    <a:gd name="T9" fmla="*/ 928 h 1348"/>
                    <a:gd name="T10" fmla="*/ 0 w 1362"/>
                    <a:gd name="T11" fmla="*/ 664 h 1348"/>
                    <a:gd name="T12" fmla="*/ 32 w 1362"/>
                    <a:gd name="T13" fmla="*/ 474 h 1348"/>
                    <a:gd name="T14" fmla="*/ 212 w 1362"/>
                    <a:gd name="T15" fmla="*/ 351 h 1348"/>
                    <a:gd name="T16" fmla="*/ 244 w 1362"/>
                    <a:gd name="T17" fmla="*/ 159 h 1348"/>
                    <a:gd name="T18" fmla="*/ 451 w 1362"/>
                    <a:gd name="T19" fmla="*/ 167 h 1348"/>
                    <a:gd name="T20" fmla="*/ 592 w 1362"/>
                    <a:gd name="T21" fmla="*/ 5 h 1348"/>
                    <a:gd name="T22" fmla="*/ 784 w 1362"/>
                    <a:gd name="T23" fmla="*/ 6 h 1348"/>
                    <a:gd name="T24" fmla="*/ 1036 w 1362"/>
                    <a:gd name="T25" fmla="*/ 98 h 1348"/>
                    <a:gd name="T26" fmla="*/ 1184 w 1362"/>
                    <a:gd name="T27" fmla="*/ 220 h 1348"/>
                    <a:gd name="T28" fmla="*/ 1206 w 1362"/>
                    <a:gd name="T29" fmla="*/ 440 h 1348"/>
                    <a:gd name="T30" fmla="*/ 1351 w 1362"/>
                    <a:gd name="T31" fmla="*/ 562 h 1348"/>
                    <a:gd name="T32" fmla="*/ 1262 w 1362"/>
                    <a:gd name="T33" fmla="*/ 724 h 1348"/>
                    <a:gd name="T34" fmla="*/ 1310 w 1362"/>
                    <a:gd name="T35" fmla="*/ 940 h 1348"/>
                    <a:gd name="T36" fmla="*/ 1213 w 1362"/>
                    <a:gd name="T37" fmla="*/ 1106 h 1348"/>
                    <a:gd name="T38" fmla="*/ 1008 w 1362"/>
                    <a:gd name="T39" fmla="*/ 1278 h 1348"/>
                    <a:gd name="T40" fmla="*/ 828 w 1362"/>
                    <a:gd name="T41" fmla="*/ 1345 h 1348"/>
                    <a:gd name="T42" fmla="*/ 830 w 1362"/>
                    <a:gd name="T43" fmla="*/ 1299 h 1348"/>
                    <a:gd name="T44" fmla="*/ 965 w 1362"/>
                    <a:gd name="T45" fmla="*/ 1122 h 1348"/>
                    <a:gd name="T46" fmla="*/ 1072 w 1362"/>
                    <a:gd name="T47" fmla="*/ 1038 h 1348"/>
                    <a:gd name="T48" fmla="*/ 1264 w 1362"/>
                    <a:gd name="T49" fmla="*/ 935 h 1348"/>
                    <a:gd name="T50" fmla="*/ 1219 w 1362"/>
                    <a:gd name="T51" fmla="*/ 710 h 1348"/>
                    <a:gd name="T52" fmla="*/ 1308 w 1362"/>
                    <a:gd name="T53" fmla="*/ 570 h 1348"/>
                    <a:gd name="T54" fmla="*/ 1171 w 1362"/>
                    <a:gd name="T55" fmla="*/ 469 h 1348"/>
                    <a:gd name="T56" fmla="*/ 1142 w 1362"/>
                    <a:gd name="T57" fmla="*/ 241 h 1348"/>
                    <a:gd name="T58" fmla="*/ 915 w 1362"/>
                    <a:gd name="T59" fmla="*/ 217 h 1348"/>
                    <a:gd name="T60" fmla="*/ 802 w 1362"/>
                    <a:gd name="T61" fmla="*/ 179 h 1348"/>
                    <a:gd name="T62" fmla="*/ 610 w 1362"/>
                    <a:gd name="T63" fmla="*/ 47 h 1348"/>
                    <a:gd name="T64" fmla="*/ 458 w 1362"/>
                    <a:gd name="T65" fmla="*/ 212 h 1348"/>
                    <a:gd name="T66" fmla="*/ 272 w 1362"/>
                    <a:gd name="T67" fmla="*/ 192 h 1348"/>
                    <a:gd name="T68" fmla="*/ 254 w 1362"/>
                    <a:gd name="T69" fmla="*/ 369 h 1348"/>
                    <a:gd name="T70" fmla="*/ 70 w 1362"/>
                    <a:gd name="T71" fmla="*/ 500 h 1348"/>
                    <a:gd name="T72" fmla="*/ 143 w 1362"/>
                    <a:gd name="T73" fmla="*/ 698 h 1348"/>
                    <a:gd name="T74" fmla="*/ 170 w 1362"/>
                    <a:gd name="T75" fmla="*/ 846 h 1348"/>
                    <a:gd name="T76" fmla="*/ 168 w 1362"/>
                    <a:gd name="T77" fmla="*/ 1058 h 1348"/>
                    <a:gd name="T78" fmla="*/ 386 w 1362"/>
                    <a:gd name="T79" fmla="*/ 1115 h 1348"/>
                    <a:gd name="T80" fmla="*/ 463 w 1362"/>
                    <a:gd name="T81" fmla="*/ 1278 h 1348"/>
                    <a:gd name="T82" fmla="*/ 630 w 1362"/>
                    <a:gd name="T83" fmla="*/ 1198 h 1348"/>
                    <a:gd name="T84" fmla="*/ 742 w 1362"/>
                    <a:gd name="T85" fmla="*/ 1197 h 1348"/>
                    <a:gd name="T86" fmla="*/ 681 w 1362"/>
                    <a:gd name="T87" fmla="*/ 257 h 1348"/>
                    <a:gd name="T88" fmla="*/ 681 w 1362"/>
                    <a:gd name="T89" fmla="*/ 301 h 1348"/>
                    <a:gd name="T90" fmla="*/ 1063 w 1362"/>
                    <a:gd name="T91" fmla="*/ 683 h 1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362" h="1348">
                      <a:moveTo>
                        <a:pt x="815" y="1348"/>
                      </a:moveTo>
                      <a:cubicBezTo>
                        <a:pt x="724" y="1242"/>
                        <a:pt x="724" y="1242"/>
                        <a:pt x="724" y="1242"/>
                      </a:cubicBezTo>
                      <a:cubicBezTo>
                        <a:pt x="695" y="1244"/>
                        <a:pt x="666" y="1244"/>
                        <a:pt x="638" y="1242"/>
                      </a:cubicBezTo>
                      <a:cubicBezTo>
                        <a:pt x="547" y="1348"/>
                        <a:pt x="547" y="1348"/>
                        <a:pt x="547" y="1348"/>
                      </a:cubicBezTo>
                      <a:cubicBezTo>
                        <a:pt x="534" y="1345"/>
                        <a:pt x="534" y="1345"/>
                        <a:pt x="534" y="1345"/>
                      </a:cubicBezTo>
                      <a:cubicBezTo>
                        <a:pt x="494" y="1336"/>
                        <a:pt x="450" y="1320"/>
                        <a:pt x="448" y="1319"/>
                      </a:cubicBezTo>
                      <a:cubicBezTo>
                        <a:pt x="446" y="1318"/>
                        <a:pt x="402" y="1302"/>
                        <a:pt x="366" y="1284"/>
                      </a:cubicBezTo>
                      <a:cubicBezTo>
                        <a:pt x="354" y="1278"/>
                        <a:pt x="354" y="1278"/>
                        <a:pt x="354" y="1278"/>
                      </a:cubicBezTo>
                      <a:cubicBezTo>
                        <a:pt x="352" y="1146"/>
                        <a:pt x="352" y="1146"/>
                        <a:pt x="352" y="1146"/>
                      </a:cubicBezTo>
                      <a:cubicBezTo>
                        <a:pt x="325" y="1128"/>
                        <a:pt x="299" y="1107"/>
                        <a:pt x="275" y="1085"/>
                      </a:cubicBezTo>
                      <a:cubicBezTo>
                        <a:pt x="149" y="1105"/>
                        <a:pt x="149" y="1105"/>
                        <a:pt x="149" y="1105"/>
                      </a:cubicBezTo>
                      <a:cubicBezTo>
                        <a:pt x="141" y="1095"/>
                        <a:pt x="141" y="1095"/>
                        <a:pt x="141" y="1095"/>
                      </a:cubicBezTo>
                      <a:cubicBezTo>
                        <a:pt x="116" y="1062"/>
                        <a:pt x="93" y="1022"/>
                        <a:pt x="92" y="1020"/>
                      </a:cubicBezTo>
                      <a:cubicBezTo>
                        <a:pt x="91" y="1018"/>
                        <a:pt x="67" y="977"/>
                        <a:pt x="51" y="940"/>
                      </a:cubicBezTo>
                      <a:cubicBezTo>
                        <a:pt x="46" y="928"/>
                        <a:pt x="46" y="928"/>
                        <a:pt x="46" y="928"/>
                      </a:cubicBezTo>
                      <a:cubicBezTo>
                        <a:pt x="121" y="836"/>
                        <a:pt x="121" y="836"/>
                        <a:pt x="121" y="836"/>
                      </a:cubicBezTo>
                      <a:cubicBezTo>
                        <a:pt x="110" y="799"/>
                        <a:pt x="104" y="762"/>
                        <a:pt x="101" y="724"/>
                      </a:cubicBezTo>
                      <a:cubicBezTo>
                        <a:pt x="0" y="664"/>
                        <a:pt x="0" y="664"/>
                        <a:pt x="0" y="664"/>
                      </a:cubicBezTo>
                      <a:cubicBezTo>
                        <a:pt x="1" y="650"/>
                        <a:pt x="1" y="650"/>
                        <a:pt x="1" y="650"/>
                      </a:cubicBezTo>
                      <a:cubicBezTo>
                        <a:pt x="3" y="610"/>
                        <a:pt x="11" y="564"/>
                        <a:pt x="11" y="562"/>
                      </a:cubicBezTo>
                      <a:cubicBezTo>
                        <a:pt x="12" y="560"/>
                        <a:pt x="20" y="513"/>
                        <a:pt x="32" y="474"/>
                      </a:cubicBezTo>
                      <a:cubicBezTo>
                        <a:pt x="35" y="462"/>
                        <a:pt x="35" y="462"/>
                        <a:pt x="35" y="462"/>
                      </a:cubicBezTo>
                      <a:cubicBezTo>
                        <a:pt x="157" y="439"/>
                        <a:pt x="157" y="439"/>
                        <a:pt x="157" y="439"/>
                      </a:cubicBezTo>
                      <a:cubicBezTo>
                        <a:pt x="173" y="408"/>
                        <a:pt x="191" y="378"/>
                        <a:pt x="212" y="351"/>
                      </a:cubicBezTo>
                      <a:cubicBezTo>
                        <a:pt x="170" y="230"/>
                        <a:pt x="170" y="230"/>
                        <a:pt x="170" y="230"/>
                      </a:cubicBezTo>
                      <a:cubicBezTo>
                        <a:pt x="179" y="220"/>
                        <a:pt x="179" y="220"/>
                        <a:pt x="179" y="220"/>
                      </a:cubicBezTo>
                      <a:cubicBezTo>
                        <a:pt x="206" y="190"/>
                        <a:pt x="243" y="160"/>
                        <a:pt x="244" y="159"/>
                      </a:cubicBezTo>
                      <a:cubicBezTo>
                        <a:pt x="246" y="157"/>
                        <a:pt x="282" y="127"/>
                        <a:pt x="316" y="105"/>
                      </a:cubicBezTo>
                      <a:cubicBezTo>
                        <a:pt x="327" y="98"/>
                        <a:pt x="327" y="98"/>
                        <a:pt x="327" y="98"/>
                      </a:cubicBezTo>
                      <a:cubicBezTo>
                        <a:pt x="451" y="167"/>
                        <a:pt x="451" y="167"/>
                        <a:pt x="451" y="167"/>
                      </a:cubicBezTo>
                      <a:cubicBezTo>
                        <a:pt x="476" y="157"/>
                        <a:pt x="502" y="148"/>
                        <a:pt x="528" y="142"/>
                      </a:cubicBezTo>
                      <a:cubicBezTo>
                        <a:pt x="579" y="6"/>
                        <a:pt x="579" y="6"/>
                        <a:pt x="579" y="6"/>
                      </a:cubicBezTo>
                      <a:cubicBezTo>
                        <a:pt x="592" y="5"/>
                        <a:pt x="592" y="5"/>
                        <a:pt x="592" y="5"/>
                      </a:cubicBezTo>
                      <a:cubicBezTo>
                        <a:pt x="632" y="0"/>
                        <a:pt x="679" y="0"/>
                        <a:pt x="681" y="0"/>
                      </a:cubicBezTo>
                      <a:cubicBezTo>
                        <a:pt x="683" y="0"/>
                        <a:pt x="730" y="0"/>
                        <a:pt x="771" y="5"/>
                      </a:cubicBezTo>
                      <a:cubicBezTo>
                        <a:pt x="784" y="6"/>
                        <a:pt x="784" y="6"/>
                        <a:pt x="784" y="6"/>
                      </a:cubicBezTo>
                      <a:cubicBezTo>
                        <a:pt x="835" y="142"/>
                        <a:pt x="835" y="142"/>
                        <a:pt x="835" y="142"/>
                      </a:cubicBezTo>
                      <a:cubicBezTo>
                        <a:pt x="861" y="149"/>
                        <a:pt x="887" y="157"/>
                        <a:pt x="912" y="168"/>
                      </a:cubicBezTo>
                      <a:cubicBezTo>
                        <a:pt x="1036" y="98"/>
                        <a:pt x="1036" y="98"/>
                        <a:pt x="1036" y="98"/>
                      </a:cubicBezTo>
                      <a:cubicBezTo>
                        <a:pt x="1047" y="105"/>
                        <a:pt x="1047" y="105"/>
                        <a:pt x="1047" y="105"/>
                      </a:cubicBezTo>
                      <a:cubicBezTo>
                        <a:pt x="1081" y="128"/>
                        <a:pt x="1117" y="158"/>
                        <a:pt x="1118" y="159"/>
                      </a:cubicBezTo>
                      <a:cubicBezTo>
                        <a:pt x="1120" y="160"/>
                        <a:pt x="1156" y="191"/>
                        <a:pt x="1184" y="220"/>
                      </a:cubicBezTo>
                      <a:cubicBezTo>
                        <a:pt x="1193" y="230"/>
                        <a:pt x="1193" y="230"/>
                        <a:pt x="1193" y="230"/>
                      </a:cubicBezTo>
                      <a:cubicBezTo>
                        <a:pt x="1151" y="351"/>
                        <a:pt x="1151" y="351"/>
                        <a:pt x="1151" y="351"/>
                      </a:cubicBezTo>
                      <a:cubicBezTo>
                        <a:pt x="1172" y="379"/>
                        <a:pt x="1190" y="408"/>
                        <a:pt x="1206" y="440"/>
                      </a:cubicBezTo>
                      <a:cubicBezTo>
                        <a:pt x="1327" y="462"/>
                        <a:pt x="1327" y="462"/>
                        <a:pt x="1327" y="462"/>
                      </a:cubicBezTo>
                      <a:cubicBezTo>
                        <a:pt x="1331" y="475"/>
                        <a:pt x="1331" y="475"/>
                        <a:pt x="1331" y="475"/>
                      </a:cubicBezTo>
                      <a:cubicBezTo>
                        <a:pt x="1342" y="514"/>
                        <a:pt x="1351" y="560"/>
                        <a:pt x="1351" y="562"/>
                      </a:cubicBezTo>
                      <a:cubicBezTo>
                        <a:pt x="1351" y="564"/>
                        <a:pt x="1359" y="611"/>
                        <a:pt x="1362" y="651"/>
                      </a:cubicBezTo>
                      <a:cubicBezTo>
                        <a:pt x="1362" y="664"/>
                        <a:pt x="1362" y="664"/>
                        <a:pt x="1362" y="664"/>
                      </a:cubicBezTo>
                      <a:cubicBezTo>
                        <a:pt x="1262" y="724"/>
                        <a:pt x="1262" y="724"/>
                        <a:pt x="1262" y="724"/>
                      </a:cubicBezTo>
                      <a:cubicBezTo>
                        <a:pt x="1259" y="762"/>
                        <a:pt x="1252" y="800"/>
                        <a:pt x="1241" y="837"/>
                      </a:cubicBezTo>
                      <a:cubicBezTo>
                        <a:pt x="1316" y="928"/>
                        <a:pt x="1316" y="928"/>
                        <a:pt x="1316" y="928"/>
                      </a:cubicBezTo>
                      <a:cubicBezTo>
                        <a:pt x="1310" y="940"/>
                        <a:pt x="1310" y="940"/>
                        <a:pt x="1310" y="940"/>
                      </a:cubicBezTo>
                      <a:cubicBezTo>
                        <a:pt x="1294" y="978"/>
                        <a:pt x="1271" y="1019"/>
                        <a:pt x="1270" y="1020"/>
                      </a:cubicBezTo>
                      <a:cubicBezTo>
                        <a:pt x="1269" y="1022"/>
                        <a:pt x="1245" y="1063"/>
                        <a:pt x="1221" y="1095"/>
                      </a:cubicBezTo>
                      <a:cubicBezTo>
                        <a:pt x="1213" y="1106"/>
                        <a:pt x="1213" y="1106"/>
                        <a:pt x="1213" y="1106"/>
                      </a:cubicBezTo>
                      <a:cubicBezTo>
                        <a:pt x="1087" y="1085"/>
                        <a:pt x="1087" y="1085"/>
                        <a:pt x="1087" y="1085"/>
                      </a:cubicBezTo>
                      <a:cubicBezTo>
                        <a:pt x="1063" y="1108"/>
                        <a:pt x="1037" y="1128"/>
                        <a:pt x="1009" y="1147"/>
                      </a:cubicBezTo>
                      <a:cubicBezTo>
                        <a:pt x="1008" y="1278"/>
                        <a:pt x="1008" y="1278"/>
                        <a:pt x="1008" y="1278"/>
                      </a:cubicBezTo>
                      <a:cubicBezTo>
                        <a:pt x="996" y="1284"/>
                        <a:pt x="996" y="1284"/>
                        <a:pt x="996" y="1284"/>
                      </a:cubicBezTo>
                      <a:cubicBezTo>
                        <a:pt x="959" y="1302"/>
                        <a:pt x="915" y="1319"/>
                        <a:pt x="913" y="1319"/>
                      </a:cubicBezTo>
                      <a:cubicBezTo>
                        <a:pt x="911" y="1320"/>
                        <a:pt x="867" y="1336"/>
                        <a:pt x="828" y="1345"/>
                      </a:cubicBezTo>
                      <a:lnTo>
                        <a:pt x="815" y="1348"/>
                      </a:lnTo>
                      <a:close/>
                      <a:moveTo>
                        <a:pt x="742" y="1197"/>
                      </a:moveTo>
                      <a:cubicBezTo>
                        <a:pt x="830" y="1299"/>
                        <a:pt x="830" y="1299"/>
                        <a:pt x="830" y="1299"/>
                      </a:cubicBezTo>
                      <a:cubicBezTo>
                        <a:pt x="864" y="1290"/>
                        <a:pt x="898" y="1278"/>
                        <a:pt x="898" y="1278"/>
                      </a:cubicBezTo>
                      <a:cubicBezTo>
                        <a:pt x="899" y="1278"/>
                        <a:pt x="933" y="1265"/>
                        <a:pt x="964" y="1251"/>
                      </a:cubicBezTo>
                      <a:cubicBezTo>
                        <a:pt x="965" y="1122"/>
                        <a:pt x="965" y="1122"/>
                        <a:pt x="965" y="1122"/>
                      </a:cubicBezTo>
                      <a:cubicBezTo>
                        <a:pt x="976" y="1116"/>
                        <a:pt x="976" y="1116"/>
                        <a:pt x="976" y="1116"/>
                      </a:cubicBezTo>
                      <a:cubicBezTo>
                        <a:pt x="1008" y="1096"/>
                        <a:pt x="1037" y="1072"/>
                        <a:pt x="1064" y="1046"/>
                      </a:cubicBezTo>
                      <a:cubicBezTo>
                        <a:pt x="1072" y="1038"/>
                        <a:pt x="1072" y="1038"/>
                        <a:pt x="1072" y="1038"/>
                      </a:cubicBezTo>
                      <a:cubicBezTo>
                        <a:pt x="1193" y="1058"/>
                        <a:pt x="1193" y="1058"/>
                        <a:pt x="1193" y="1058"/>
                      </a:cubicBezTo>
                      <a:cubicBezTo>
                        <a:pt x="1213" y="1030"/>
                        <a:pt x="1232" y="999"/>
                        <a:pt x="1232" y="998"/>
                      </a:cubicBezTo>
                      <a:cubicBezTo>
                        <a:pt x="1232" y="998"/>
                        <a:pt x="1250" y="967"/>
                        <a:pt x="1264" y="935"/>
                      </a:cubicBezTo>
                      <a:cubicBezTo>
                        <a:pt x="1192" y="847"/>
                        <a:pt x="1192" y="847"/>
                        <a:pt x="1192" y="847"/>
                      </a:cubicBezTo>
                      <a:cubicBezTo>
                        <a:pt x="1196" y="835"/>
                        <a:pt x="1196" y="835"/>
                        <a:pt x="1196" y="835"/>
                      </a:cubicBezTo>
                      <a:cubicBezTo>
                        <a:pt x="1209" y="795"/>
                        <a:pt x="1217" y="753"/>
                        <a:pt x="1219" y="710"/>
                      </a:cubicBezTo>
                      <a:cubicBezTo>
                        <a:pt x="1219" y="698"/>
                        <a:pt x="1219" y="698"/>
                        <a:pt x="1219" y="698"/>
                      </a:cubicBezTo>
                      <a:cubicBezTo>
                        <a:pt x="1317" y="640"/>
                        <a:pt x="1317" y="640"/>
                        <a:pt x="1317" y="640"/>
                      </a:cubicBezTo>
                      <a:cubicBezTo>
                        <a:pt x="1314" y="606"/>
                        <a:pt x="1308" y="570"/>
                        <a:pt x="1308" y="570"/>
                      </a:cubicBezTo>
                      <a:cubicBezTo>
                        <a:pt x="1307" y="569"/>
                        <a:pt x="1301" y="534"/>
                        <a:pt x="1292" y="501"/>
                      </a:cubicBezTo>
                      <a:cubicBezTo>
                        <a:pt x="1176" y="479"/>
                        <a:pt x="1176" y="479"/>
                        <a:pt x="1176" y="479"/>
                      </a:cubicBezTo>
                      <a:cubicBezTo>
                        <a:pt x="1171" y="469"/>
                        <a:pt x="1171" y="469"/>
                        <a:pt x="1171" y="469"/>
                      </a:cubicBezTo>
                      <a:cubicBezTo>
                        <a:pt x="1154" y="433"/>
                        <a:pt x="1133" y="400"/>
                        <a:pt x="1109" y="369"/>
                      </a:cubicBezTo>
                      <a:cubicBezTo>
                        <a:pt x="1101" y="359"/>
                        <a:pt x="1101" y="359"/>
                        <a:pt x="1101" y="359"/>
                      </a:cubicBezTo>
                      <a:cubicBezTo>
                        <a:pt x="1142" y="241"/>
                        <a:pt x="1142" y="241"/>
                        <a:pt x="1142" y="241"/>
                      </a:cubicBezTo>
                      <a:cubicBezTo>
                        <a:pt x="1118" y="216"/>
                        <a:pt x="1090" y="193"/>
                        <a:pt x="1090" y="193"/>
                      </a:cubicBezTo>
                      <a:cubicBezTo>
                        <a:pt x="1090" y="193"/>
                        <a:pt x="1062" y="169"/>
                        <a:pt x="1034" y="150"/>
                      </a:cubicBezTo>
                      <a:cubicBezTo>
                        <a:pt x="915" y="217"/>
                        <a:pt x="915" y="217"/>
                        <a:pt x="915" y="217"/>
                      </a:cubicBezTo>
                      <a:cubicBezTo>
                        <a:pt x="905" y="212"/>
                        <a:pt x="905" y="212"/>
                        <a:pt x="905" y="212"/>
                      </a:cubicBezTo>
                      <a:cubicBezTo>
                        <a:pt x="875" y="199"/>
                        <a:pt x="845" y="189"/>
                        <a:pt x="813" y="182"/>
                      </a:cubicBezTo>
                      <a:cubicBezTo>
                        <a:pt x="802" y="179"/>
                        <a:pt x="802" y="179"/>
                        <a:pt x="802" y="179"/>
                      </a:cubicBezTo>
                      <a:cubicBezTo>
                        <a:pt x="752" y="47"/>
                        <a:pt x="752" y="47"/>
                        <a:pt x="752" y="47"/>
                      </a:cubicBezTo>
                      <a:cubicBezTo>
                        <a:pt x="718" y="44"/>
                        <a:pt x="682" y="44"/>
                        <a:pt x="681" y="44"/>
                      </a:cubicBezTo>
                      <a:cubicBezTo>
                        <a:pt x="681" y="44"/>
                        <a:pt x="645" y="44"/>
                        <a:pt x="610" y="47"/>
                      </a:cubicBezTo>
                      <a:cubicBezTo>
                        <a:pt x="561" y="179"/>
                        <a:pt x="561" y="179"/>
                        <a:pt x="561" y="179"/>
                      </a:cubicBezTo>
                      <a:cubicBezTo>
                        <a:pt x="549" y="182"/>
                        <a:pt x="549" y="182"/>
                        <a:pt x="549" y="182"/>
                      </a:cubicBezTo>
                      <a:cubicBezTo>
                        <a:pt x="518" y="189"/>
                        <a:pt x="488" y="199"/>
                        <a:pt x="458" y="212"/>
                      </a:cubicBezTo>
                      <a:cubicBezTo>
                        <a:pt x="448" y="217"/>
                        <a:pt x="448" y="217"/>
                        <a:pt x="448" y="217"/>
                      </a:cubicBezTo>
                      <a:cubicBezTo>
                        <a:pt x="329" y="149"/>
                        <a:pt x="329" y="149"/>
                        <a:pt x="329" y="149"/>
                      </a:cubicBezTo>
                      <a:cubicBezTo>
                        <a:pt x="300" y="169"/>
                        <a:pt x="273" y="192"/>
                        <a:pt x="272" y="192"/>
                      </a:cubicBezTo>
                      <a:cubicBezTo>
                        <a:pt x="272" y="193"/>
                        <a:pt x="244" y="216"/>
                        <a:pt x="220" y="241"/>
                      </a:cubicBezTo>
                      <a:cubicBezTo>
                        <a:pt x="262" y="359"/>
                        <a:pt x="262" y="359"/>
                        <a:pt x="262" y="359"/>
                      </a:cubicBezTo>
                      <a:cubicBezTo>
                        <a:pt x="254" y="369"/>
                        <a:pt x="254" y="369"/>
                        <a:pt x="254" y="369"/>
                      </a:cubicBezTo>
                      <a:cubicBezTo>
                        <a:pt x="229" y="399"/>
                        <a:pt x="209" y="433"/>
                        <a:pt x="192" y="468"/>
                      </a:cubicBezTo>
                      <a:cubicBezTo>
                        <a:pt x="187" y="478"/>
                        <a:pt x="187" y="478"/>
                        <a:pt x="187" y="478"/>
                      </a:cubicBezTo>
                      <a:cubicBezTo>
                        <a:pt x="70" y="500"/>
                        <a:pt x="70" y="500"/>
                        <a:pt x="70" y="500"/>
                      </a:cubicBezTo>
                      <a:cubicBezTo>
                        <a:pt x="61" y="533"/>
                        <a:pt x="55" y="569"/>
                        <a:pt x="55" y="569"/>
                      </a:cubicBezTo>
                      <a:cubicBezTo>
                        <a:pt x="55" y="570"/>
                        <a:pt x="48" y="605"/>
                        <a:pt x="45" y="640"/>
                      </a:cubicBezTo>
                      <a:cubicBezTo>
                        <a:pt x="143" y="698"/>
                        <a:pt x="143" y="698"/>
                        <a:pt x="143" y="698"/>
                      </a:cubicBezTo>
                      <a:cubicBezTo>
                        <a:pt x="144" y="709"/>
                        <a:pt x="144" y="709"/>
                        <a:pt x="144" y="709"/>
                      </a:cubicBezTo>
                      <a:cubicBezTo>
                        <a:pt x="146" y="752"/>
                        <a:pt x="154" y="794"/>
                        <a:pt x="167" y="834"/>
                      </a:cubicBezTo>
                      <a:cubicBezTo>
                        <a:pt x="170" y="846"/>
                        <a:pt x="170" y="846"/>
                        <a:pt x="170" y="846"/>
                      </a:cubicBezTo>
                      <a:cubicBezTo>
                        <a:pt x="97" y="935"/>
                        <a:pt x="97" y="935"/>
                        <a:pt x="97" y="935"/>
                      </a:cubicBezTo>
                      <a:cubicBezTo>
                        <a:pt x="112" y="966"/>
                        <a:pt x="130" y="997"/>
                        <a:pt x="130" y="998"/>
                      </a:cubicBezTo>
                      <a:cubicBezTo>
                        <a:pt x="130" y="998"/>
                        <a:pt x="148" y="1029"/>
                        <a:pt x="168" y="1058"/>
                      </a:cubicBezTo>
                      <a:cubicBezTo>
                        <a:pt x="290" y="1038"/>
                        <a:pt x="290" y="1038"/>
                        <a:pt x="290" y="1038"/>
                      </a:cubicBezTo>
                      <a:cubicBezTo>
                        <a:pt x="298" y="1045"/>
                        <a:pt x="298" y="1045"/>
                        <a:pt x="298" y="1045"/>
                      </a:cubicBezTo>
                      <a:cubicBezTo>
                        <a:pt x="324" y="1072"/>
                        <a:pt x="354" y="1095"/>
                        <a:pt x="386" y="1115"/>
                      </a:cubicBezTo>
                      <a:cubicBezTo>
                        <a:pt x="396" y="1121"/>
                        <a:pt x="396" y="1121"/>
                        <a:pt x="396" y="1121"/>
                      </a:cubicBezTo>
                      <a:cubicBezTo>
                        <a:pt x="397" y="1250"/>
                        <a:pt x="397" y="1250"/>
                        <a:pt x="397" y="1250"/>
                      </a:cubicBezTo>
                      <a:cubicBezTo>
                        <a:pt x="429" y="1265"/>
                        <a:pt x="463" y="1278"/>
                        <a:pt x="463" y="1278"/>
                      </a:cubicBezTo>
                      <a:cubicBezTo>
                        <a:pt x="463" y="1278"/>
                        <a:pt x="498" y="1290"/>
                        <a:pt x="531" y="1299"/>
                      </a:cubicBezTo>
                      <a:cubicBezTo>
                        <a:pt x="619" y="1197"/>
                        <a:pt x="619" y="1197"/>
                        <a:pt x="619" y="1197"/>
                      </a:cubicBezTo>
                      <a:cubicBezTo>
                        <a:pt x="630" y="1198"/>
                        <a:pt x="630" y="1198"/>
                        <a:pt x="630" y="1198"/>
                      </a:cubicBezTo>
                      <a:cubicBezTo>
                        <a:pt x="647" y="1199"/>
                        <a:pt x="665" y="1200"/>
                        <a:pt x="681" y="1200"/>
                      </a:cubicBezTo>
                      <a:cubicBezTo>
                        <a:pt x="698" y="1200"/>
                        <a:pt x="714" y="1199"/>
                        <a:pt x="731" y="1198"/>
                      </a:cubicBezTo>
                      <a:lnTo>
                        <a:pt x="742" y="1197"/>
                      </a:lnTo>
                      <a:close/>
                      <a:moveTo>
                        <a:pt x="681" y="1108"/>
                      </a:moveTo>
                      <a:cubicBezTo>
                        <a:pt x="447" y="1108"/>
                        <a:pt x="256" y="917"/>
                        <a:pt x="256" y="683"/>
                      </a:cubicBezTo>
                      <a:cubicBezTo>
                        <a:pt x="256" y="448"/>
                        <a:pt x="447" y="257"/>
                        <a:pt x="681" y="257"/>
                      </a:cubicBezTo>
                      <a:cubicBezTo>
                        <a:pt x="916" y="257"/>
                        <a:pt x="1107" y="448"/>
                        <a:pt x="1107" y="683"/>
                      </a:cubicBezTo>
                      <a:cubicBezTo>
                        <a:pt x="1107" y="917"/>
                        <a:pt x="916" y="1108"/>
                        <a:pt x="681" y="1108"/>
                      </a:cubicBezTo>
                      <a:close/>
                      <a:moveTo>
                        <a:pt x="681" y="301"/>
                      </a:moveTo>
                      <a:cubicBezTo>
                        <a:pt x="471" y="301"/>
                        <a:pt x="300" y="473"/>
                        <a:pt x="300" y="683"/>
                      </a:cubicBezTo>
                      <a:cubicBezTo>
                        <a:pt x="300" y="893"/>
                        <a:pt x="471" y="1064"/>
                        <a:pt x="681" y="1064"/>
                      </a:cubicBezTo>
                      <a:cubicBezTo>
                        <a:pt x="892" y="1064"/>
                        <a:pt x="1063" y="893"/>
                        <a:pt x="1063" y="683"/>
                      </a:cubicBezTo>
                      <a:cubicBezTo>
                        <a:pt x="1063" y="473"/>
                        <a:pt x="892" y="301"/>
                        <a:pt x="681" y="30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206848" name="Group 206847"/>
          <p:cNvGrpSpPr>
            <a:grpSpLocks/>
          </p:cNvGrpSpPr>
          <p:nvPr/>
        </p:nvGrpSpPr>
        <p:grpSpPr>
          <a:xfrm>
            <a:off x="544135" y="5312529"/>
            <a:ext cx="430298" cy="430298"/>
            <a:chOff x="754813" y="5378186"/>
            <a:chExt cx="537872" cy="537872"/>
          </a:xfrm>
        </p:grpSpPr>
        <p:sp>
          <p:nvSpPr>
            <p:cNvPr id="73" name="Oval 72"/>
            <p:cNvSpPr/>
            <p:nvPr/>
          </p:nvSpPr>
          <p:spPr>
            <a:xfrm>
              <a:off x="754813" y="5378186"/>
              <a:ext cx="537872" cy="537872"/>
            </a:xfrm>
            <a:prstGeom prst="ellipse">
              <a:avLst/>
            </a:prstGeom>
            <a:noFill/>
            <a:ln w="15240" cap="rnd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06" name="bcgIcons_LocationPin">
              <a:extLst>
                <a:ext uri="{FF2B5EF4-FFF2-40B4-BE49-F238E27FC236}">
                  <a16:creationId xmlns:a16="http://schemas.microsoft.com/office/drawing/2014/main" id="{78F5497F-6A7B-48EE-8ABA-6B139D48A9C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07239" y="5430411"/>
              <a:ext cx="433021" cy="433423"/>
              <a:chOff x="1682" y="0"/>
              <a:chExt cx="4316" cy="4320"/>
            </a:xfrm>
          </p:grpSpPr>
          <p:sp>
            <p:nvSpPr>
              <p:cNvPr id="107" name="AutoShape 8">
                <a:extLst>
                  <a:ext uri="{FF2B5EF4-FFF2-40B4-BE49-F238E27FC236}">
                    <a16:creationId xmlns:a16="http://schemas.microsoft.com/office/drawing/2014/main" id="{E401341F-3240-423F-88F8-A8459A6C932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10">
                <a:extLst>
                  <a:ext uri="{FF2B5EF4-FFF2-40B4-BE49-F238E27FC236}">
                    <a16:creationId xmlns:a16="http://schemas.microsoft.com/office/drawing/2014/main" id="{5AA59EF6-E736-47DB-87BC-5C1E88881E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30" y="553"/>
                <a:ext cx="2020" cy="3210"/>
              </a:xfrm>
              <a:custGeom>
                <a:avLst/>
                <a:gdLst>
                  <a:gd name="T0" fmla="*/ 541 w 1078"/>
                  <a:gd name="T1" fmla="*/ 1712 h 1712"/>
                  <a:gd name="T2" fmla="*/ 503 w 1078"/>
                  <a:gd name="T3" fmla="*/ 1690 h 1712"/>
                  <a:gd name="T4" fmla="*/ 448 w 1078"/>
                  <a:gd name="T5" fmla="*/ 1595 h 1712"/>
                  <a:gd name="T6" fmla="*/ 228 w 1078"/>
                  <a:gd name="T7" fmla="*/ 1186 h 1712"/>
                  <a:gd name="T8" fmla="*/ 0 w 1078"/>
                  <a:gd name="T9" fmla="*/ 552 h 1712"/>
                  <a:gd name="T10" fmla="*/ 541 w 1078"/>
                  <a:gd name="T11" fmla="*/ 0 h 1712"/>
                  <a:gd name="T12" fmla="*/ 1078 w 1078"/>
                  <a:gd name="T13" fmla="*/ 552 h 1712"/>
                  <a:gd name="T14" fmla="*/ 852 w 1078"/>
                  <a:gd name="T15" fmla="*/ 1186 h 1712"/>
                  <a:gd name="T16" fmla="*/ 634 w 1078"/>
                  <a:gd name="T17" fmla="*/ 1595 h 1712"/>
                  <a:gd name="T18" fmla="*/ 579 w 1078"/>
                  <a:gd name="T19" fmla="*/ 1690 h 1712"/>
                  <a:gd name="T20" fmla="*/ 541 w 1078"/>
                  <a:gd name="T21" fmla="*/ 1712 h 1712"/>
                  <a:gd name="T22" fmla="*/ 541 w 1078"/>
                  <a:gd name="T23" fmla="*/ 1712 h 1712"/>
                  <a:gd name="T24" fmla="*/ 541 w 1078"/>
                  <a:gd name="T25" fmla="*/ 44 h 1712"/>
                  <a:gd name="T26" fmla="*/ 44 w 1078"/>
                  <a:gd name="T27" fmla="*/ 552 h 1712"/>
                  <a:gd name="T28" fmla="*/ 267 w 1078"/>
                  <a:gd name="T29" fmla="*/ 1166 h 1712"/>
                  <a:gd name="T30" fmla="*/ 486 w 1078"/>
                  <a:gd name="T31" fmla="*/ 1573 h 1712"/>
                  <a:gd name="T32" fmla="*/ 541 w 1078"/>
                  <a:gd name="T33" fmla="*/ 1668 h 1712"/>
                  <a:gd name="T34" fmla="*/ 596 w 1078"/>
                  <a:gd name="T35" fmla="*/ 1573 h 1712"/>
                  <a:gd name="T36" fmla="*/ 813 w 1078"/>
                  <a:gd name="T37" fmla="*/ 1166 h 1712"/>
                  <a:gd name="T38" fmla="*/ 1034 w 1078"/>
                  <a:gd name="T39" fmla="*/ 552 h 1712"/>
                  <a:gd name="T40" fmla="*/ 541 w 1078"/>
                  <a:gd name="T41" fmla="*/ 44 h 1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78" h="1712">
                    <a:moveTo>
                      <a:pt x="541" y="1712"/>
                    </a:moveTo>
                    <a:cubicBezTo>
                      <a:pt x="525" y="1712"/>
                      <a:pt x="511" y="1704"/>
                      <a:pt x="503" y="1690"/>
                    </a:cubicBezTo>
                    <a:cubicBezTo>
                      <a:pt x="448" y="1595"/>
                      <a:pt x="448" y="1595"/>
                      <a:pt x="448" y="1595"/>
                    </a:cubicBezTo>
                    <a:cubicBezTo>
                      <a:pt x="447" y="1593"/>
                      <a:pt x="336" y="1403"/>
                      <a:pt x="228" y="1186"/>
                    </a:cubicBezTo>
                    <a:cubicBezTo>
                      <a:pt x="74" y="879"/>
                      <a:pt x="0" y="672"/>
                      <a:pt x="0" y="552"/>
                    </a:cubicBezTo>
                    <a:cubicBezTo>
                      <a:pt x="0" y="248"/>
                      <a:pt x="242" y="0"/>
                      <a:pt x="541" y="0"/>
                    </a:cubicBezTo>
                    <a:cubicBezTo>
                      <a:pt x="837" y="0"/>
                      <a:pt x="1078" y="248"/>
                      <a:pt x="1078" y="552"/>
                    </a:cubicBezTo>
                    <a:cubicBezTo>
                      <a:pt x="1078" y="671"/>
                      <a:pt x="1004" y="879"/>
                      <a:pt x="852" y="1186"/>
                    </a:cubicBezTo>
                    <a:cubicBezTo>
                      <a:pt x="745" y="1402"/>
                      <a:pt x="635" y="1593"/>
                      <a:pt x="634" y="1595"/>
                    </a:cubicBezTo>
                    <a:cubicBezTo>
                      <a:pt x="579" y="1690"/>
                      <a:pt x="579" y="1690"/>
                      <a:pt x="579" y="1690"/>
                    </a:cubicBezTo>
                    <a:cubicBezTo>
                      <a:pt x="571" y="1703"/>
                      <a:pt x="557" y="1712"/>
                      <a:pt x="541" y="1712"/>
                    </a:cubicBezTo>
                    <a:cubicBezTo>
                      <a:pt x="541" y="1712"/>
                      <a:pt x="541" y="1712"/>
                      <a:pt x="541" y="1712"/>
                    </a:cubicBezTo>
                    <a:close/>
                    <a:moveTo>
                      <a:pt x="541" y="44"/>
                    </a:moveTo>
                    <a:cubicBezTo>
                      <a:pt x="267" y="44"/>
                      <a:pt x="44" y="272"/>
                      <a:pt x="44" y="552"/>
                    </a:cubicBezTo>
                    <a:cubicBezTo>
                      <a:pt x="44" y="665"/>
                      <a:pt x="117" y="866"/>
                      <a:pt x="267" y="1166"/>
                    </a:cubicBezTo>
                    <a:cubicBezTo>
                      <a:pt x="375" y="1382"/>
                      <a:pt x="485" y="1571"/>
                      <a:pt x="486" y="1573"/>
                    </a:cubicBezTo>
                    <a:cubicBezTo>
                      <a:pt x="541" y="1668"/>
                      <a:pt x="541" y="1668"/>
                      <a:pt x="541" y="1668"/>
                    </a:cubicBezTo>
                    <a:cubicBezTo>
                      <a:pt x="596" y="1573"/>
                      <a:pt x="596" y="1573"/>
                      <a:pt x="596" y="1573"/>
                    </a:cubicBezTo>
                    <a:cubicBezTo>
                      <a:pt x="597" y="1571"/>
                      <a:pt x="705" y="1383"/>
                      <a:pt x="813" y="1166"/>
                    </a:cubicBezTo>
                    <a:cubicBezTo>
                      <a:pt x="962" y="866"/>
                      <a:pt x="1034" y="665"/>
                      <a:pt x="1034" y="552"/>
                    </a:cubicBezTo>
                    <a:cubicBezTo>
                      <a:pt x="1034" y="272"/>
                      <a:pt x="813" y="44"/>
                      <a:pt x="54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11">
                <a:extLst>
                  <a:ext uri="{FF2B5EF4-FFF2-40B4-BE49-F238E27FC236}">
                    <a16:creationId xmlns:a16="http://schemas.microsoft.com/office/drawing/2014/main" id="{256D33AA-9B6F-49B6-B53E-F9C2CF9684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1" y="756"/>
                <a:ext cx="1618" cy="2670"/>
              </a:xfrm>
              <a:custGeom>
                <a:avLst/>
                <a:gdLst>
                  <a:gd name="T0" fmla="*/ 864 w 864"/>
                  <a:gd name="T1" fmla="*/ 444 h 1424"/>
                  <a:gd name="T2" fmla="*/ 442 w 864"/>
                  <a:gd name="T3" fmla="*/ 1418 h 1424"/>
                  <a:gd name="T4" fmla="*/ 425 w 864"/>
                  <a:gd name="T5" fmla="*/ 1418 h 1424"/>
                  <a:gd name="T6" fmla="*/ 0 w 864"/>
                  <a:gd name="T7" fmla="*/ 444 h 1424"/>
                  <a:gd name="T8" fmla="*/ 434 w 864"/>
                  <a:gd name="T9" fmla="*/ 0 h 1424"/>
                  <a:gd name="T10" fmla="*/ 864 w 864"/>
                  <a:gd name="T11" fmla="*/ 444 h 1424"/>
                  <a:gd name="T12" fmla="*/ 434 w 864"/>
                  <a:gd name="T13" fmla="*/ 275 h 1424"/>
                  <a:gd name="T14" fmla="*/ 280 w 864"/>
                  <a:gd name="T15" fmla="*/ 430 h 1424"/>
                  <a:gd name="T16" fmla="*/ 434 w 864"/>
                  <a:gd name="T17" fmla="*/ 590 h 1424"/>
                  <a:gd name="T18" fmla="*/ 584 w 864"/>
                  <a:gd name="T19" fmla="*/ 430 h 1424"/>
                  <a:gd name="T20" fmla="*/ 434 w 864"/>
                  <a:gd name="T21" fmla="*/ 275 h 1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4" h="1424">
                    <a:moveTo>
                      <a:pt x="864" y="444"/>
                    </a:moveTo>
                    <a:cubicBezTo>
                      <a:pt x="864" y="668"/>
                      <a:pt x="503" y="1311"/>
                      <a:pt x="442" y="1418"/>
                    </a:cubicBezTo>
                    <a:cubicBezTo>
                      <a:pt x="438" y="1424"/>
                      <a:pt x="429" y="1424"/>
                      <a:pt x="425" y="1418"/>
                    </a:cubicBezTo>
                    <a:cubicBezTo>
                      <a:pt x="364" y="1311"/>
                      <a:pt x="0" y="668"/>
                      <a:pt x="0" y="444"/>
                    </a:cubicBezTo>
                    <a:cubicBezTo>
                      <a:pt x="0" y="201"/>
                      <a:pt x="194" y="0"/>
                      <a:pt x="434" y="0"/>
                    </a:cubicBezTo>
                    <a:cubicBezTo>
                      <a:pt x="673" y="0"/>
                      <a:pt x="864" y="201"/>
                      <a:pt x="864" y="444"/>
                    </a:cubicBezTo>
                    <a:close/>
                    <a:moveTo>
                      <a:pt x="434" y="275"/>
                    </a:moveTo>
                    <a:cubicBezTo>
                      <a:pt x="348" y="275"/>
                      <a:pt x="280" y="347"/>
                      <a:pt x="280" y="430"/>
                    </a:cubicBezTo>
                    <a:cubicBezTo>
                      <a:pt x="280" y="518"/>
                      <a:pt x="348" y="590"/>
                      <a:pt x="434" y="590"/>
                    </a:cubicBezTo>
                    <a:cubicBezTo>
                      <a:pt x="515" y="590"/>
                      <a:pt x="584" y="518"/>
                      <a:pt x="584" y="430"/>
                    </a:cubicBezTo>
                    <a:cubicBezTo>
                      <a:pt x="584" y="347"/>
                      <a:pt x="515" y="275"/>
                      <a:pt x="434" y="27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11" name="Rectangle 110"/>
          <p:cNvSpPr/>
          <p:nvPr/>
        </p:nvSpPr>
        <p:spPr>
          <a:xfrm>
            <a:off x="1034195" y="3956497"/>
            <a:ext cx="1073916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R&amp;D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1034194" y="4449446"/>
            <a:ext cx="1073916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Manufacturing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1034195" y="4942395"/>
            <a:ext cx="1073916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Procurement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1034195" y="5435345"/>
            <a:ext cx="1073916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Deployment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4995176" y="3102760"/>
            <a:ext cx="3693325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pported by a coordination hub at WHO</a:t>
            </a:r>
          </a:p>
        </p:txBody>
      </p:sp>
      <p:cxnSp>
        <p:nvCxnSpPr>
          <p:cNvPr id="206857" name="Elbow Connector 206856"/>
          <p:cNvCxnSpPr>
            <a:endCxn id="18" idx="0"/>
          </p:cNvCxnSpPr>
          <p:nvPr/>
        </p:nvCxnSpPr>
        <p:spPr>
          <a:xfrm>
            <a:off x="6924604" y="3322603"/>
            <a:ext cx="3134429" cy="219558"/>
          </a:xfrm>
          <a:prstGeom prst="bentConnector2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stCxn id="17" idx="0"/>
          </p:cNvCxnSpPr>
          <p:nvPr/>
        </p:nvCxnSpPr>
        <p:spPr>
          <a:xfrm flipV="1">
            <a:off x="6924604" y="3322605"/>
            <a:ext cx="0" cy="219556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cxnSpLocks/>
            <a:stCxn id="16" idx="0"/>
          </p:cNvCxnSpPr>
          <p:nvPr/>
        </p:nvCxnSpPr>
        <p:spPr>
          <a:xfrm rot="5400000" flipH="1" flipV="1">
            <a:off x="5247613" y="1865170"/>
            <a:ext cx="219553" cy="3134430"/>
          </a:xfrm>
          <a:prstGeom prst="bentConnector2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13" descr="File:World Health Organization Logo.svg">
            <a:extLst>
              <a:ext uri="{FF2B5EF4-FFF2-40B4-BE49-F238E27FC236}">
                <a16:creationId xmlns:a16="http://schemas.microsoft.com/office/drawing/2014/main" id="{3514F4CF-FBD1-46D4-9BBD-9A6A07C3B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735" y="4683824"/>
            <a:ext cx="877135" cy="26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C6BD5C9-35C5-4AAE-AE66-F258A014907E}"/>
              </a:ext>
            </a:extLst>
          </p:cNvPr>
          <p:cNvCxnSpPr/>
          <p:nvPr/>
        </p:nvCxnSpPr>
        <p:spPr>
          <a:xfrm>
            <a:off x="2163337" y="3672469"/>
            <a:ext cx="0" cy="2486722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E42B990-0330-4FA7-A11F-363D2D4C4390}"/>
              </a:ext>
            </a:extLst>
          </p:cNvPr>
          <p:cNvSpPr/>
          <p:nvPr/>
        </p:nvSpPr>
        <p:spPr>
          <a:xfrm>
            <a:off x="2354534" y="5502807"/>
            <a:ext cx="1382123" cy="374118"/>
          </a:xfrm>
          <a:prstGeom prst="rect">
            <a:avLst/>
          </a:prstGeom>
          <a:solidFill>
            <a:srgbClr val="FF0000"/>
          </a:solidFill>
          <a:ln w="9525" cap="rnd" cmpd="sng" algn="ctr">
            <a:solidFill>
              <a:srgbClr val="F7964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rgbClr val="000000"/>
                </a:solidFill>
              </a:rPr>
              <a:t>COVAX</a:t>
            </a:r>
            <a:r>
              <a:rPr lang="en-US" sz="1200" dirty="0">
                <a:solidFill>
                  <a:srgbClr val="000000"/>
                </a:solidFill>
              </a:rPr>
              <a:t> facility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0187B20-65FC-4D92-82CE-62B23FB1FD25}"/>
              </a:ext>
            </a:extLst>
          </p:cNvPr>
          <p:cNvSpPr/>
          <p:nvPr/>
        </p:nvSpPr>
        <p:spPr>
          <a:xfrm>
            <a:off x="3849497" y="5502807"/>
            <a:ext cx="1382123" cy="374118"/>
          </a:xfrm>
          <a:prstGeom prst="rect">
            <a:avLst/>
          </a:prstGeom>
          <a:noFill/>
          <a:ln w="9525" cap="rnd" cmpd="sng" algn="ctr">
            <a:solidFill>
              <a:srgbClr val="F79646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Country Readiness &amp; Delivery</a:t>
            </a:r>
          </a:p>
        </p:txBody>
      </p:sp>
    </p:spTree>
    <p:extLst>
      <p:ext uri="{BB962C8B-B14F-4D97-AF65-F5344CB8AC3E}">
        <p14:creationId xmlns:p14="http://schemas.microsoft.com/office/powerpoint/2010/main" val="284840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53A58B-CFE6-48A4-AACB-8B0C87B270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71" name="think-cell Slide" r:id="rId5" imgW="501" imgH="501" progId="TCLayout.ActiveDocument.1">
                  <p:embed/>
                </p:oleObj>
              </mc:Choice>
              <mc:Fallback>
                <p:oleObj name="think-cell Slide" r:id="rId5" imgW="501" imgH="50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053A58B-CFE6-48A4-AACB-8B0C87B27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8B1735-D84C-45D9-9F55-E07E436BC0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7E6B41-6C81-44ED-8D19-A0F73DF25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88" y="273453"/>
            <a:ext cx="12021424" cy="997196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dirty="0">
                <a:solidFill>
                  <a:srgbClr val="0070C0"/>
                </a:solidFill>
              </a:rPr>
              <a:t>The COVID-19 Vaccine Global Access (COVAX) Facility enables global collaboration and equitable access to vaccines</a:t>
            </a:r>
            <a:endParaRPr lang="en-GB" sz="3600" dirty="0">
              <a:solidFill>
                <a:srgbClr val="0070C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8B1DBF4-F87D-4DD2-BAF3-2DDE87C53BF9}"/>
              </a:ext>
            </a:extLst>
          </p:cNvPr>
          <p:cNvSpPr/>
          <p:nvPr/>
        </p:nvSpPr>
        <p:spPr>
          <a:xfrm>
            <a:off x="3208868" y="2472269"/>
            <a:ext cx="5088993" cy="27613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6363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 w="0"/>
              <a:solidFill>
                <a:srgbClr val="4D4D4D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8E4FBAA-C526-4264-A74E-3DEEA9380AC3}"/>
              </a:ext>
            </a:extLst>
          </p:cNvPr>
          <p:cNvSpPr/>
          <p:nvPr/>
        </p:nvSpPr>
        <p:spPr>
          <a:xfrm>
            <a:off x="2540062" y="1672202"/>
            <a:ext cx="6505996" cy="590892"/>
          </a:xfrm>
          <a:prstGeom prst="roundRect">
            <a:avLst>
              <a:gd name="adj" fmla="val 6452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329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The COVAX Facility is administered by the Gavi Secretariat and 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</a:b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implemented in partnership with ACT Accelerator acto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2583B62-2D7F-41C3-9C06-53B067AB429F}"/>
              </a:ext>
            </a:extLst>
          </p:cNvPr>
          <p:cNvSpPr>
            <a:spLocks/>
          </p:cNvSpPr>
          <p:nvPr/>
        </p:nvSpPr>
        <p:spPr>
          <a:xfrm flipV="1">
            <a:off x="3800659" y="3796619"/>
            <a:ext cx="2185421" cy="573796"/>
          </a:xfrm>
          <a:prstGeom prst="roundRect">
            <a:avLst/>
          </a:prstGeom>
          <a:solidFill>
            <a:srgbClr val="D5EAFF"/>
          </a:solidFill>
          <a:ln w="19050" cap="flat" cmpd="sng" algn="ctr">
            <a:solidFill>
              <a:srgbClr val="005CB9"/>
            </a:solidFill>
            <a:prstDash val="solid"/>
            <a:miter lim="800000"/>
          </a:ln>
          <a:effectLst/>
        </p:spPr>
        <p:txBody>
          <a:bodyPr lIns="0" tIns="373145" rIns="0" bIns="0" rtlCol="0" anchor="ctr">
            <a:noAutofit/>
          </a:bodyPr>
          <a:lstStyle/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012777-38CF-41B5-97FF-D89E3DBC2B48}"/>
              </a:ext>
            </a:extLst>
          </p:cNvPr>
          <p:cNvSpPr txBox="1"/>
          <p:nvPr/>
        </p:nvSpPr>
        <p:spPr>
          <a:xfrm rot="10800000" flipV="1">
            <a:off x="4031689" y="3882330"/>
            <a:ext cx="1761371" cy="41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dditional innovative finance instrum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05468ED-89A8-487E-89A0-A241174C5503}"/>
              </a:ext>
            </a:extLst>
          </p:cNvPr>
          <p:cNvSpPr>
            <a:spLocks/>
          </p:cNvSpPr>
          <p:nvPr/>
        </p:nvSpPr>
        <p:spPr>
          <a:xfrm rot="10800000" flipV="1">
            <a:off x="6552157" y="3451750"/>
            <a:ext cx="1399452" cy="648500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ufactur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098B2FA-3AA2-459C-8D8D-36D7B871C0BE}"/>
              </a:ext>
            </a:extLst>
          </p:cNvPr>
          <p:cNvSpPr txBox="1"/>
          <p:nvPr/>
        </p:nvSpPr>
        <p:spPr>
          <a:xfrm rot="10800000" flipV="1">
            <a:off x="8332080" y="5028420"/>
            <a:ext cx="1922152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9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lf-funded doses</a:t>
            </a:r>
            <a:r>
              <a:rPr kumimoji="0" lang="en-US" sz="1333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DFFD47-E910-4E5E-8969-7BF7A5222557}"/>
              </a:ext>
            </a:extLst>
          </p:cNvPr>
          <p:cNvSpPr txBox="1"/>
          <p:nvPr/>
        </p:nvSpPr>
        <p:spPr>
          <a:xfrm>
            <a:off x="2220727" y="3843251"/>
            <a:ext cx="1002911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9pPr>
          </a:lstStyle>
          <a:p>
            <a:pPr marL="0" marR="0" lvl="0" indent="0" algn="l" defTabSz="932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CB9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tribu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881E0C-5BB4-437D-8C5D-7B749A190A71}"/>
              </a:ext>
            </a:extLst>
          </p:cNvPr>
          <p:cNvSpPr txBox="1"/>
          <p:nvPr/>
        </p:nvSpPr>
        <p:spPr>
          <a:xfrm>
            <a:off x="5550090" y="4501803"/>
            <a:ext cx="1749529" cy="615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/>
            </a:lvl9pPr>
          </a:lstStyle>
          <a:p>
            <a:pPr marL="0" marR="0" lvl="0" indent="0" algn="l" defTabSz="932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CB9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</a:t>
            </a: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agreements</a:t>
            </a:r>
            <a:r>
              <a:rPr kumimoji="0" lang="en-US" sz="1333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32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CB9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market wide/ manufacturer specific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56C3230-90E8-4217-A312-FDEEE24221C3}"/>
              </a:ext>
            </a:extLst>
          </p:cNvPr>
          <p:cNvGrpSpPr/>
          <p:nvPr/>
        </p:nvGrpSpPr>
        <p:grpSpPr>
          <a:xfrm>
            <a:off x="1209191" y="4233425"/>
            <a:ext cx="1588555" cy="714609"/>
            <a:chOff x="147933" y="3678484"/>
            <a:chExt cx="1635181" cy="470578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5FB7F751-A072-48E1-AEC6-C3A5A9EC46F3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147933" y="3678484"/>
              <a:ext cx="1635181" cy="470578"/>
            </a:xfrm>
            <a:prstGeom prst="roundRect">
              <a:avLst/>
            </a:prstGeom>
            <a:solidFill>
              <a:srgbClr val="005CB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327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0DABF6E-D9C2-46CA-A924-3E4D3014EE74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147933" y="3688405"/>
              <a:ext cx="1635181" cy="448331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ctr" defTabSz="9327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ully self-financing countrie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A3DF7C3-3B35-435C-A802-4C269195E6FC}"/>
              </a:ext>
            </a:extLst>
          </p:cNvPr>
          <p:cNvGrpSpPr/>
          <p:nvPr/>
        </p:nvGrpSpPr>
        <p:grpSpPr>
          <a:xfrm>
            <a:off x="9049048" y="2581541"/>
            <a:ext cx="1922153" cy="714608"/>
            <a:chOff x="7001054" y="2549174"/>
            <a:chExt cx="1635182" cy="470578"/>
          </a:xfrm>
          <a:solidFill>
            <a:srgbClr val="95D600"/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C42933B-8C73-414C-9105-975D03C83D39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7001055" y="2549174"/>
              <a:ext cx="1635181" cy="470578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327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777211B9-B72D-4983-BF21-FFBBC4006241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7001054" y="2719287"/>
              <a:ext cx="1635181" cy="149444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ctr" defTabSz="9327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LICs/ LMIC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779D3DF-585B-42EF-A85E-5E4B0AB6F7AB}"/>
              </a:ext>
            </a:extLst>
          </p:cNvPr>
          <p:cNvGrpSpPr/>
          <p:nvPr/>
        </p:nvGrpSpPr>
        <p:grpSpPr>
          <a:xfrm>
            <a:off x="9049048" y="4233426"/>
            <a:ext cx="1922152" cy="714609"/>
            <a:chOff x="7119591" y="3812932"/>
            <a:chExt cx="1635181" cy="470578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296A7C63-FA86-47C4-8378-470E87FF3E43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7119591" y="3812932"/>
              <a:ext cx="1635181" cy="470578"/>
            </a:xfrm>
            <a:prstGeom prst="roundRect">
              <a:avLst/>
            </a:prstGeom>
            <a:solidFill>
              <a:srgbClr val="005CB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327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6873F22-AD80-4BAF-8659-D2A40A326442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7119591" y="3897576"/>
              <a:ext cx="1635181" cy="298887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ctr" defTabSz="932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lly self-financing countries</a:t>
              </a:r>
            </a:p>
          </p:txBody>
        </p:sp>
      </p:grp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2035081-C456-4D55-BB0E-FED252D71986}"/>
              </a:ext>
            </a:extLst>
          </p:cNvPr>
          <p:cNvCxnSpPr>
            <a:cxnSpLocks/>
            <a:endCxn id="19" idx="3"/>
          </p:cNvCxnSpPr>
          <p:nvPr/>
        </p:nvCxnSpPr>
        <p:spPr>
          <a:xfrm flipV="1">
            <a:off x="7951609" y="2953341"/>
            <a:ext cx="1097439" cy="732920"/>
          </a:xfrm>
          <a:prstGeom prst="bentConnector3">
            <a:avLst>
              <a:gd name="adj1" fmla="val 50000"/>
            </a:avLst>
          </a:prstGeom>
          <a:noFill/>
          <a:ln w="22225" cap="flat" cmpd="sng" algn="ctr">
            <a:solidFill>
              <a:srgbClr val="95D600"/>
            </a:solidFill>
            <a:prstDash val="solid"/>
            <a:headEnd type="none" w="lg" len="med"/>
            <a:tailEnd type="triangle" w="lg" len="med"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A21E8415-82A3-47E7-9C0E-8D821924E2D1}"/>
              </a:ext>
            </a:extLst>
          </p:cNvPr>
          <p:cNvCxnSpPr>
            <a:cxnSpLocks/>
            <a:endCxn id="22" idx="3"/>
          </p:cNvCxnSpPr>
          <p:nvPr/>
        </p:nvCxnSpPr>
        <p:spPr>
          <a:xfrm>
            <a:off x="7951608" y="3843307"/>
            <a:ext cx="1097440" cy="745599"/>
          </a:xfrm>
          <a:prstGeom prst="bentConnector3">
            <a:avLst>
              <a:gd name="adj1" fmla="val 50000"/>
            </a:avLst>
          </a:prstGeom>
          <a:noFill/>
          <a:ln w="22225" cap="flat" cmpd="sng" algn="ctr">
            <a:solidFill>
              <a:schemeClr val="accent1"/>
            </a:solidFill>
            <a:prstDash val="solid"/>
            <a:headEnd type="none" w="lg" len="med"/>
            <a:tailEnd type="triangle" w="lg" len="med"/>
          </a:ln>
          <a:effectLst/>
        </p:spPr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53B23AC-4704-4910-9177-168CD325F8F0}"/>
              </a:ext>
            </a:extLst>
          </p:cNvPr>
          <p:cNvSpPr>
            <a:spLocks/>
          </p:cNvSpPr>
          <p:nvPr/>
        </p:nvSpPr>
        <p:spPr>
          <a:xfrm rot="10800000" flipV="1">
            <a:off x="1209189" y="2581541"/>
            <a:ext cx="1588555" cy="714608"/>
          </a:xfrm>
          <a:prstGeom prst="roundRect">
            <a:avLst/>
          </a:prstGeom>
          <a:solidFill>
            <a:srgbClr val="95D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333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onors</a:t>
            </a:r>
            <a:r>
              <a:rPr kumimoji="0" lang="de-CH" sz="1333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on behalf of LICs/ LMICs</a:t>
            </a:r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A4845D30-0E69-4357-953C-E7EBF1BF8183}"/>
              </a:ext>
            </a:extLst>
          </p:cNvPr>
          <p:cNvCxnSpPr>
            <a:cxnSpLocks/>
            <a:stCxn id="25" idx="1"/>
            <a:endCxn id="30" idx="1"/>
          </p:cNvCxnSpPr>
          <p:nvPr/>
        </p:nvCxnSpPr>
        <p:spPr>
          <a:xfrm>
            <a:off x="2797745" y="2938847"/>
            <a:ext cx="1002892" cy="547124"/>
          </a:xfrm>
          <a:prstGeom prst="bentConnector3">
            <a:avLst>
              <a:gd name="adj1" fmla="val 18884"/>
            </a:avLst>
          </a:prstGeom>
          <a:noFill/>
          <a:ln w="22225" cap="flat" cmpd="sng" algn="ctr">
            <a:solidFill>
              <a:srgbClr val="95D600"/>
            </a:solidFill>
            <a:prstDash val="solid"/>
            <a:headEnd type="none" w="lg" len="med"/>
            <a:tailEnd type="triangle" w="lg" len="med"/>
          </a:ln>
          <a:effectLst/>
        </p:spPr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97B920DA-5B90-4ED5-93DD-FEC94A632A32}"/>
              </a:ext>
            </a:extLst>
          </p:cNvPr>
          <p:cNvCxnSpPr>
            <a:cxnSpLocks/>
            <a:stCxn id="15" idx="1"/>
            <a:endCxn id="8" idx="1"/>
          </p:cNvCxnSpPr>
          <p:nvPr/>
        </p:nvCxnSpPr>
        <p:spPr>
          <a:xfrm flipV="1">
            <a:off x="2797745" y="4083518"/>
            <a:ext cx="1002912" cy="507205"/>
          </a:xfrm>
          <a:prstGeom prst="bentConnector3">
            <a:avLst>
              <a:gd name="adj1" fmla="val 20037"/>
            </a:avLst>
          </a:prstGeom>
          <a:noFill/>
          <a:ln w="22225" cap="flat" cmpd="sng" algn="ctr">
            <a:solidFill>
              <a:schemeClr val="accent1"/>
            </a:solidFill>
            <a:prstDash val="solid"/>
            <a:headEnd type="none" w="lg" len="med"/>
            <a:tailEnd type="triangle" w="lg" len="med"/>
          </a:ln>
          <a:effectLst/>
        </p:spPr>
      </p:cxnSp>
      <p:cxnSp>
        <p:nvCxnSpPr>
          <p:cNvPr id="28" name="Connector: Curved 82">
            <a:extLst>
              <a:ext uri="{FF2B5EF4-FFF2-40B4-BE49-F238E27FC236}">
                <a16:creationId xmlns:a16="http://schemas.microsoft.com/office/drawing/2014/main" id="{E200D217-E373-47BE-A0D1-2B65A2E93C13}"/>
              </a:ext>
            </a:extLst>
          </p:cNvPr>
          <p:cNvCxnSpPr>
            <a:cxnSpLocks/>
            <a:endCxn id="10" idx="3"/>
          </p:cNvCxnSpPr>
          <p:nvPr/>
        </p:nvCxnSpPr>
        <p:spPr>
          <a:xfrm flipV="1">
            <a:off x="5986079" y="3776000"/>
            <a:ext cx="566077" cy="0"/>
          </a:xfrm>
          <a:prstGeom prst="straightConnector1">
            <a:avLst/>
          </a:prstGeom>
          <a:noFill/>
          <a:ln w="22225" cap="rnd" cmpd="sng" algn="ctr">
            <a:solidFill>
              <a:srgbClr val="000000"/>
            </a:solidFill>
            <a:prstDash val="solid"/>
            <a:round/>
            <a:headEnd w="lg" len="lg"/>
            <a:tailEnd type="triangle" w="lg" len="med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A5E8B78-A7F8-46F6-A0DC-A8EDD03E6141}"/>
              </a:ext>
            </a:extLst>
          </p:cNvPr>
          <p:cNvSpPr txBox="1"/>
          <p:nvPr/>
        </p:nvSpPr>
        <p:spPr>
          <a:xfrm rot="10800000" flipV="1">
            <a:off x="8276275" y="2340986"/>
            <a:ext cx="215058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9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onor </a:t>
            </a:r>
            <a:r>
              <a:rPr kumimoji="0" lang="en-US" sz="1333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ubsidised</a:t>
            </a: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doses</a:t>
            </a:r>
            <a:r>
              <a:rPr kumimoji="0" lang="en-US" sz="1333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361DDBC-4152-456C-8391-BADF740EBB9B}"/>
              </a:ext>
            </a:extLst>
          </p:cNvPr>
          <p:cNvSpPr>
            <a:spLocks/>
          </p:cNvSpPr>
          <p:nvPr/>
        </p:nvSpPr>
        <p:spPr>
          <a:xfrm flipV="1">
            <a:off x="3800636" y="3199073"/>
            <a:ext cx="2185421" cy="573796"/>
          </a:xfrm>
          <a:prstGeom prst="roundRect">
            <a:avLst/>
          </a:prstGeom>
          <a:solidFill>
            <a:srgbClr val="EDFFC4"/>
          </a:solidFill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lIns="0" tIns="373145" rIns="0" bIns="0" rtlCol="0" anchor="ctr">
            <a:noAutofit/>
          </a:bodyPr>
          <a:lstStyle/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E96C73C-570F-45AA-B609-F013ECF478AC}"/>
              </a:ext>
            </a:extLst>
          </p:cNvPr>
          <p:cNvSpPr txBox="1"/>
          <p:nvPr/>
        </p:nvSpPr>
        <p:spPr>
          <a:xfrm rot="10800000" flipV="1">
            <a:off x="4084739" y="3395410"/>
            <a:ext cx="1570581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932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7AB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avi COVAX AMC</a:t>
            </a:r>
          </a:p>
        </p:txBody>
      </p:sp>
      <p:sp>
        <p:nvSpPr>
          <p:cNvPr id="32" name="4. Footnote">
            <a:extLst>
              <a:ext uri="{FF2B5EF4-FFF2-40B4-BE49-F238E27FC236}">
                <a16:creationId xmlns:a16="http://schemas.microsoft.com/office/drawing/2014/main" id="{E9AA569F-1314-4CFB-8B5B-14A1DC2495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540" y="6018203"/>
            <a:ext cx="11644130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6896" marR="0" lvl="0" indent="-106896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	Agreements with manufacturers would be unified across full scope of countries participating in the Facility, but ODA funding will only be used to support LICs and LMICs</a:t>
            </a:r>
          </a:p>
          <a:p>
            <a:pPr marL="106896" marR="0" lvl="0" indent="-106896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	Financing for procurement incremental to contribu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0836B27-0B7F-477B-97DA-3BEC48BB2F19}"/>
              </a:ext>
            </a:extLst>
          </p:cNvPr>
          <p:cNvSpPr txBox="1"/>
          <p:nvPr/>
        </p:nvSpPr>
        <p:spPr>
          <a:xfrm>
            <a:off x="4226655" y="2594305"/>
            <a:ext cx="28981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OVAX Facility</a:t>
            </a:r>
          </a:p>
        </p:txBody>
      </p:sp>
    </p:spTree>
    <p:extLst>
      <p:ext uri="{BB962C8B-B14F-4D97-AF65-F5344CB8AC3E}">
        <p14:creationId xmlns:p14="http://schemas.microsoft.com/office/powerpoint/2010/main" val="391536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75887B09-FF82-40C9-9078-7FF24122E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4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75887B09-FF82-40C9-9078-7FF24122E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5A7E7896-58CE-4001-88DC-55B20B43FC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25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7664BBF-EA1F-4BF7-BD04-AAD54752D36B}"/>
              </a:ext>
            </a:extLst>
          </p:cNvPr>
          <p:cNvSpPr/>
          <p:nvPr/>
        </p:nvSpPr>
        <p:spPr>
          <a:xfrm>
            <a:off x="1749316" y="786576"/>
            <a:ext cx="9510456" cy="565227"/>
          </a:xfrm>
          <a:prstGeom prst="rect">
            <a:avLst/>
          </a:prstGeom>
          <a:solidFill>
            <a:srgbClr val="0070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3109EF42-694F-4C17-AA6E-12B03C3D99F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/>
              <a:t>Access &amp; allocation as it applies to the COVAX facility*</a:t>
            </a:r>
          </a:p>
        </p:txBody>
      </p:sp>
      <p:sp>
        <p:nvSpPr>
          <p:cNvPr id="9" name="KeyTakeawayOF 9">
            <a:extLst>
              <a:ext uri="{FF2B5EF4-FFF2-40B4-BE49-F238E27FC236}">
                <a16:creationId xmlns:a16="http://schemas.microsoft.com/office/drawing/2014/main" id="{840F7965-7033-4045-A25C-0A0E587C9E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8203" y="5667920"/>
            <a:ext cx="10631569" cy="456270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b="1" dirty="0"/>
              <a:t>A buffer will also be set aside for emergency deployment based on immediate nee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459E55-8803-43F4-B4BD-35EAC6F95D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5841" y="978731"/>
            <a:ext cx="967429" cy="6362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/>
              <a:t>Go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005A12-A930-413C-A773-F5496D0A58F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5841" y="2269030"/>
            <a:ext cx="967429" cy="6362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i="1" dirty="0"/>
              <a:t>Indicative target grou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58D095-7C8B-4FB3-B7D2-0BB2BBAD61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15841" y="4779806"/>
            <a:ext cx="1315253" cy="37983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i="1" dirty="0"/>
              <a:t>Ti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7F0AA6-FBA0-4479-8967-AD58339C72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749317" y="933345"/>
            <a:ext cx="9304968" cy="30720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50" b="1" dirty="0">
                <a:solidFill>
                  <a:schemeClr val="bg1"/>
                </a:solidFill>
              </a:rPr>
              <a:t>Protect public health and minimize societal and economic impact by reducing COVID-19 mortality</a:t>
            </a:r>
            <a:endParaRPr lang="en-GB" sz="1550" b="1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FD916D-3994-47B6-9131-15A1D5A95E19}"/>
              </a:ext>
            </a:extLst>
          </p:cNvPr>
          <p:cNvSpPr txBox="1">
            <a:spLocks/>
          </p:cNvSpPr>
          <p:nvPr/>
        </p:nvSpPr>
        <p:spPr>
          <a:xfrm>
            <a:off x="1976046" y="2891170"/>
            <a:ext cx="2814584" cy="143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ll countries receive doses to cover 3% of their population.</a:t>
            </a:r>
          </a:p>
          <a:p>
            <a:r>
              <a:rPr lang="en-US" sz="1400" dirty="0">
                <a:cs typeface="+mn-cs"/>
              </a:rPr>
              <a:t>This would be enough to cover all workers involved in health and social care work in most countries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53BDD0-54E9-470B-8D47-5854F7770E5A}"/>
              </a:ext>
            </a:extLst>
          </p:cNvPr>
          <p:cNvSpPr txBox="1">
            <a:spLocks/>
          </p:cNvSpPr>
          <p:nvPr/>
        </p:nvSpPr>
        <p:spPr>
          <a:xfrm>
            <a:off x="8239703" y="2891169"/>
            <a:ext cx="2935441" cy="19414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Countries receive doses to cover more than 20% of their population. </a:t>
            </a:r>
          </a:p>
          <a:p>
            <a:r>
              <a:rPr lang="en-US" sz="1400" dirty="0"/>
              <a:t>This would cover additional priority populations.</a:t>
            </a:r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41793C7-5952-4A3C-A986-EA32439CCEBC}"/>
              </a:ext>
            </a:extLst>
          </p:cNvPr>
          <p:cNvSpPr txBox="1">
            <a:spLocks/>
          </p:cNvSpPr>
          <p:nvPr/>
        </p:nvSpPr>
        <p:spPr>
          <a:xfrm>
            <a:off x="5183407" y="2891170"/>
            <a:ext cx="2814584" cy="143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ll countries receive additional doses to cover a total of 20% of their population (in tranches)</a:t>
            </a:r>
          </a:p>
          <a:p>
            <a:r>
              <a:rPr lang="en-US" sz="1400" dirty="0"/>
              <a:t>This could include the elderly, adults with comorbities or others depending on locally relevant risk facto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B7159AB-AF8C-4F9D-A443-D7BEDAD192C2}"/>
              </a:ext>
            </a:extLst>
          </p:cNvPr>
          <p:cNvGrpSpPr/>
          <p:nvPr/>
        </p:nvGrpSpPr>
        <p:grpSpPr>
          <a:xfrm>
            <a:off x="1931094" y="1613386"/>
            <a:ext cx="9244051" cy="1014030"/>
            <a:chOff x="2382053" y="2237119"/>
            <a:chExt cx="9244051" cy="843238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6F31B9-5842-4590-8A61-C9D9D3BA38AB}"/>
                </a:ext>
              </a:extLst>
            </p:cNvPr>
            <p:cNvCxnSpPr>
              <a:cxnSpLocks/>
            </p:cNvCxnSpPr>
            <p:nvPr/>
          </p:nvCxnSpPr>
          <p:spPr>
            <a:xfrm>
              <a:off x="2455425" y="3080357"/>
              <a:ext cx="3056298" cy="0"/>
            </a:xfrm>
            <a:prstGeom prst="line">
              <a:avLst/>
            </a:prstGeom>
            <a:ln w="1270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624340-C48E-40DC-AD02-2900CDDF9498}"/>
                </a:ext>
              </a:extLst>
            </p:cNvPr>
            <p:cNvSpPr txBox="1">
              <a:spLocks/>
            </p:cNvSpPr>
            <p:nvPr/>
          </p:nvSpPr>
          <p:spPr>
            <a:xfrm>
              <a:off x="2382053" y="2819645"/>
              <a:ext cx="3055901" cy="168189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b="1" dirty="0">
                  <a:cs typeface="+mn-cs"/>
                </a:rPr>
                <a:t>Health and social care workers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5400F25-9122-4F80-A6C0-8E46135FF695}"/>
                </a:ext>
              </a:extLst>
            </p:cNvPr>
            <p:cNvCxnSpPr>
              <a:cxnSpLocks/>
            </p:cNvCxnSpPr>
            <p:nvPr/>
          </p:nvCxnSpPr>
          <p:spPr>
            <a:xfrm>
              <a:off x="5513509" y="2789749"/>
              <a:ext cx="0" cy="280575"/>
            </a:xfrm>
            <a:prstGeom prst="line">
              <a:avLst/>
            </a:prstGeom>
            <a:ln w="1270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373C74B-2A4C-4D36-A501-842864463FCD}"/>
                </a:ext>
              </a:extLst>
            </p:cNvPr>
            <p:cNvCxnSpPr>
              <a:cxnSpLocks/>
            </p:cNvCxnSpPr>
            <p:nvPr/>
          </p:nvCxnSpPr>
          <p:spPr>
            <a:xfrm>
              <a:off x="8574570" y="2509175"/>
              <a:ext cx="0" cy="280575"/>
            </a:xfrm>
            <a:prstGeom prst="line">
              <a:avLst/>
            </a:prstGeom>
            <a:ln w="12700" cap="sq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6C23534-4B6D-4034-A091-E59C1A7C6436}"/>
                </a:ext>
              </a:extLst>
            </p:cNvPr>
            <p:cNvSpPr txBox="1">
              <a:spLocks/>
            </p:cNvSpPr>
            <p:nvPr/>
          </p:nvSpPr>
          <p:spPr>
            <a:xfrm>
              <a:off x="8569806" y="2237119"/>
              <a:ext cx="3056298" cy="16145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b="1" dirty="0">
                  <a:cs typeface="+mn-cs"/>
                </a:rPr>
                <a:t>Further priority group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AFD535E-7461-4EAB-8CAA-9A42DB4C861E}"/>
                </a:ext>
              </a:extLst>
            </p:cNvPr>
            <p:cNvSpPr txBox="1">
              <a:spLocks/>
            </p:cNvSpPr>
            <p:nvPr/>
          </p:nvSpPr>
          <p:spPr>
            <a:xfrm>
              <a:off x="5513112" y="2547953"/>
              <a:ext cx="3056298" cy="16145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b="1" dirty="0">
                  <a:cs typeface="+mn-cs"/>
                </a:rPr>
                <a:t>High-risk adults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FC0E9AD-E420-4103-AA5A-C00C90C1374B}"/>
                </a:ext>
              </a:extLst>
            </p:cNvPr>
            <p:cNvCxnSpPr>
              <a:cxnSpLocks/>
            </p:cNvCxnSpPr>
            <p:nvPr/>
          </p:nvCxnSpPr>
          <p:spPr>
            <a:xfrm>
              <a:off x="5513509" y="2789749"/>
              <a:ext cx="3056298" cy="0"/>
            </a:xfrm>
            <a:prstGeom prst="line">
              <a:avLst/>
            </a:prstGeom>
            <a:ln w="1270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A2A2E40-06EA-40D7-AF6A-5DB717964906}"/>
                </a:ext>
              </a:extLst>
            </p:cNvPr>
            <p:cNvCxnSpPr>
              <a:cxnSpLocks/>
            </p:cNvCxnSpPr>
            <p:nvPr/>
          </p:nvCxnSpPr>
          <p:spPr>
            <a:xfrm>
              <a:off x="8569806" y="2509175"/>
              <a:ext cx="3056298" cy="0"/>
            </a:xfrm>
            <a:prstGeom prst="line">
              <a:avLst/>
            </a:prstGeom>
            <a:ln w="1270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3" name="LineSpecialityArrow 33">
            <a:extLst>
              <a:ext uri="{FF2B5EF4-FFF2-40B4-BE49-F238E27FC236}">
                <a16:creationId xmlns:a16="http://schemas.microsoft.com/office/drawing/2014/main" id="{277593F7-C194-4E7E-BC62-0E726A51F79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2006252" y="4918326"/>
            <a:ext cx="57850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LineSpecialityArrow 33">
            <a:extLst>
              <a:ext uri="{FF2B5EF4-FFF2-40B4-BE49-F238E27FC236}">
                <a16:creationId xmlns:a16="http://schemas.microsoft.com/office/drawing/2014/main" id="{18CE4A76-9809-4B85-958F-B5521ACA3DF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293760" y="4918326"/>
            <a:ext cx="316792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031E097-C139-4CC5-A643-0B2B3D16791D}"/>
              </a:ext>
            </a:extLst>
          </p:cNvPr>
          <p:cNvSpPr txBox="1">
            <a:spLocks/>
          </p:cNvSpPr>
          <p:nvPr/>
        </p:nvSpPr>
        <p:spPr>
          <a:xfrm>
            <a:off x="3015128" y="4664915"/>
            <a:ext cx="3080871" cy="3987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Phase 1: </a:t>
            </a:r>
            <a:r>
              <a:rPr lang="en-US" dirty="0"/>
              <a:t>Countries receive doses </a:t>
            </a:r>
            <a:r>
              <a:rPr lang="en-US" i="1" dirty="0"/>
              <a:t>proportionally</a:t>
            </a:r>
            <a:r>
              <a:rPr lang="en-US" dirty="0"/>
              <a:t> to their total population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49CDD1A-982A-4FD0-891C-3039C004BF35}"/>
              </a:ext>
            </a:extLst>
          </p:cNvPr>
          <p:cNvSpPr txBox="1">
            <a:spLocks/>
          </p:cNvSpPr>
          <p:nvPr/>
        </p:nvSpPr>
        <p:spPr>
          <a:xfrm>
            <a:off x="8660090" y="4664915"/>
            <a:ext cx="2295375" cy="3987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Phase 2:</a:t>
            </a:r>
            <a:r>
              <a:rPr lang="en-US" dirty="0"/>
              <a:t> Timing is based on country need, vulnerability and COVID-19 threat</a:t>
            </a:r>
          </a:p>
        </p:txBody>
      </p:sp>
      <p:cxnSp>
        <p:nvCxnSpPr>
          <p:cNvPr id="4" name="LineBasicVerticalDefault 4">
            <a:extLst>
              <a:ext uri="{FF2B5EF4-FFF2-40B4-BE49-F238E27FC236}">
                <a16:creationId xmlns:a16="http://schemas.microsoft.com/office/drawing/2014/main" id="{DDB3DEA6-7592-437E-BE10-065E6CA3B505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117704" y="2399686"/>
            <a:ext cx="5907" cy="3027144"/>
          </a:xfrm>
          <a:prstGeom prst="straightConnector1">
            <a:avLst/>
          </a:prstGeom>
          <a:ln w="12700" cap="flat">
            <a:solidFill>
              <a:schemeClr val="accent4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DF708D62-DB63-4EFC-90C8-3B69EAEBA0FE}"/>
              </a:ext>
            </a:extLst>
          </p:cNvPr>
          <p:cNvSpPr/>
          <p:nvPr/>
        </p:nvSpPr>
        <p:spPr>
          <a:xfrm>
            <a:off x="628203" y="6214746"/>
            <a:ext cx="11195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a typeface="PMingLiU" panose="02020500000000000000" pitchFamily="18" charset="-120"/>
              </a:rPr>
              <a:t>*Based on version submitted to Member States for review on 21 August</a:t>
            </a:r>
          </a:p>
        </p:txBody>
      </p:sp>
    </p:spTree>
    <p:extLst>
      <p:ext uri="{BB962C8B-B14F-4D97-AF65-F5344CB8AC3E}">
        <p14:creationId xmlns:p14="http://schemas.microsoft.com/office/powerpoint/2010/main" val="30860859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63EA7EB7-4AB0-4653-9EBF-F16F26FBE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7" name="think-cell Slide" r:id="rId7" imgW="501" imgH="501" progId="TCLayout.ActiveDocument.1">
                  <p:embed/>
                </p:oleObj>
              </mc:Choice>
              <mc:Fallback>
                <p:oleObj name="think-cell Slide" r:id="rId7" imgW="501" imgH="50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63EA7EB7-4AB0-4653-9EBF-F16F26FBE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1" hidden="1">
            <a:extLst>
              <a:ext uri="{FF2B5EF4-FFF2-40B4-BE49-F238E27FC236}">
                <a16:creationId xmlns:a16="http://schemas.microsoft.com/office/drawing/2014/main" id="{74FC4657-7E17-4605-BE6D-1D4B1752CD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kumimoji="0" lang="en-GB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EFB991FC-BD2F-4099-BB2E-6D596530560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78269"/>
            <a:ext cx="11082528" cy="369332"/>
          </a:xfrm>
        </p:spPr>
        <p:txBody>
          <a:bodyPr anchor="t"/>
          <a:lstStyle/>
          <a:p>
            <a:pPr>
              <a:buClr>
                <a:schemeClr val="tx1"/>
              </a:buClr>
            </a:pPr>
            <a:r>
              <a:rPr lang="en-GB" sz="2400" dirty="0"/>
              <a:t>Vaccine availability projected to be available in Q1 2021, but preparation must start now </a:t>
            </a:r>
            <a:endParaRPr lang="en-CA" sz="2400" dirty="0"/>
          </a:p>
        </p:txBody>
      </p:sp>
      <p:sp>
        <p:nvSpPr>
          <p:cNvPr id="133" name="Title 1">
            <a:extLst>
              <a:ext uri="{FF2B5EF4-FFF2-40B4-BE49-F238E27FC236}">
                <a16:creationId xmlns:a16="http://schemas.microsoft.com/office/drawing/2014/main" id="{3068F002-CC98-49B3-9FBC-C16442546281}"/>
              </a:ext>
            </a:extLst>
          </p:cNvPr>
          <p:cNvSpPr txBox="1">
            <a:spLocks/>
          </p:cNvSpPr>
          <p:nvPr/>
        </p:nvSpPr>
        <p:spPr bwMode="gray">
          <a:xfrm>
            <a:off x="554736" y="2154792"/>
            <a:ext cx="6534348" cy="4130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urrent expectation of vaccine availability and delivery timelin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85B7990-A853-4FD4-BD16-98BAA58029BD}"/>
              </a:ext>
            </a:extLst>
          </p:cNvPr>
          <p:cNvSpPr txBox="1"/>
          <p:nvPr/>
        </p:nvSpPr>
        <p:spPr>
          <a:xfrm>
            <a:off x="3096877" y="2779720"/>
            <a:ext cx="464738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0B2FC87-2C84-4540-AB21-6306AB64FFBC}"/>
              </a:ext>
            </a:extLst>
          </p:cNvPr>
          <p:cNvSpPr txBox="1"/>
          <p:nvPr/>
        </p:nvSpPr>
        <p:spPr>
          <a:xfrm>
            <a:off x="3844452" y="2789017"/>
            <a:ext cx="446149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c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3945B68-7035-447D-A1E3-48A04FBDA94C}"/>
              </a:ext>
            </a:extLst>
          </p:cNvPr>
          <p:cNvSpPr txBox="1"/>
          <p:nvPr/>
        </p:nvSpPr>
        <p:spPr>
          <a:xfrm>
            <a:off x="4648515" y="2779720"/>
            <a:ext cx="505635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B92765D-4208-4417-8F6B-B63849BF79B2}"/>
              </a:ext>
            </a:extLst>
          </p:cNvPr>
          <p:cNvSpPr txBox="1"/>
          <p:nvPr/>
        </p:nvSpPr>
        <p:spPr>
          <a:xfrm>
            <a:off x="5572595" y="2779720"/>
            <a:ext cx="483325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76A7A5-95F0-41F1-A763-609F88128C6B}"/>
              </a:ext>
            </a:extLst>
          </p:cNvPr>
          <p:cNvSpPr txBox="1"/>
          <p:nvPr/>
        </p:nvSpPr>
        <p:spPr>
          <a:xfrm>
            <a:off x="6571668" y="2779720"/>
            <a:ext cx="412688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871371-1C35-49D0-BC09-BD7A6C037E08}"/>
              </a:ext>
            </a:extLst>
          </p:cNvPr>
          <p:cNvSpPr txBox="1"/>
          <p:nvPr/>
        </p:nvSpPr>
        <p:spPr>
          <a:xfrm>
            <a:off x="7492668" y="2779720"/>
            <a:ext cx="464738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42DD3AC-869D-4524-9C4C-7A1750C2B6F6}"/>
              </a:ext>
            </a:extLst>
          </p:cNvPr>
          <p:cNvSpPr txBox="1"/>
          <p:nvPr/>
        </p:nvSpPr>
        <p:spPr>
          <a:xfrm>
            <a:off x="8296380" y="2779720"/>
            <a:ext cx="524224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92E428B-E0B7-45DD-9763-CD10304584BC}"/>
              </a:ext>
            </a:extLst>
          </p:cNvPr>
          <p:cNvSpPr txBox="1"/>
          <p:nvPr/>
        </p:nvSpPr>
        <p:spPr>
          <a:xfrm>
            <a:off x="9287708" y="2779720"/>
            <a:ext cx="453584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B8B9390-4145-4983-989D-173FA82C1FAF}"/>
              </a:ext>
            </a:extLst>
          </p:cNvPr>
          <p:cNvSpPr txBox="1"/>
          <p:nvPr/>
        </p:nvSpPr>
        <p:spPr>
          <a:xfrm>
            <a:off x="10099206" y="2779720"/>
            <a:ext cx="557683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C33D223-9972-4325-98CB-3483B470A08A}"/>
              </a:ext>
            </a:extLst>
          </p:cNvPr>
          <p:cNvSpPr txBox="1"/>
          <p:nvPr/>
        </p:nvSpPr>
        <p:spPr>
          <a:xfrm>
            <a:off x="11107837" y="2779720"/>
            <a:ext cx="427559" cy="179831"/>
          </a:xfrm>
          <a:prstGeom prst="rect">
            <a:avLst/>
          </a:prstGeom>
        </p:spPr>
        <p:txBody>
          <a:bodyPr vert="horz" wrap="square" lIns="0" tIns="0" rIns="0" bIns="13500" rtlCol="0" anchor="b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400B36E-AAC6-42E0-B9E7-FB56C2B9361B}"/>
              </a:ext>
            </a:extLst>
          </p:cNvPr>
          <p:cNvSpPr/>
          <p:nvPr/>
        </p:nvSpPr>
        <p:spPr>
          <a:xfrm>
            <a:off x="3171931" y="2559571"/>
            <a:ext cx="3172594" cy="193882"/>
          </a:xfrm>
          <a:prstGeom prst="rect">
            <a:avLst/>
          </a:prstGeom>
          <a:solidFill>
            <a:schemeClr val="tx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DF4B77C-5A7C-4763-A010-E17F19C49EE6}"/>
              </a:ext>
            </a:extLst>
          </p:cNvPr>
          <p:cNvSpPr/>
          <p:nvPr/>
        </p:nvSpPr>
        <p:spPr>
          <a:xfrm>
            <a:off x="6397870" y="2571644"/>
            <a:ext cx="5339772" cy="193882"/>
          </a:xfrm>
          <a:prstGeom prst="rect">
            <a:avLst/>
          </a:prstGeom>
          <a:solidFill>
            <a:schemeClr val="tx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AF85E3-D984-4DDA-9CC4-5CA483008137}"/>
              </a:ext>
            </a:extLst>
          </p:cNvPr>
          <p:cNvSpPr/>
          <p:nvPr/>
        </p:nvSpPr>
        <p:spPr>
          <a:xfrm>
            <a:off x="454359" y="3562104"/>
            <a:ext cx="2642518" cy="620324"/>
          </a:xfrm>
          <a:prstGeom prst="rect">
            <a:avLst/>
          </a:prstGeom>
          <a:solidFill>
            <a:srgbClr val="005CB9"/>
          </a:solidFill>
          <a:ln w="9525">
            <a:solidFill>
              <a:srgbClr val="005C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ccine Allocation for AMC Countri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EA3A4FA-D474-415C-B3BD-8D8112001C06}"/>
              </a:ext>
            </a:extLst>
          </p:cNvPr>
          <p:cNvSpPr/>
          <p:nvPr/>
        </p:nvSpPr>
        <p:spPr>
          <a:xfrm>
            <a:off x="470891" y="3021092"/>
            <a:ext cx="2625986" cy="431683"/>
          </a:xfrm>
          <a:prstGeom prst="rect">
            <a:avLst/>
          </a:prstGeom>
          <a:solidFill>
            <a:srgbClr val="005CB9"/>
          </a:solidFill>
          <a:ln w="9525">
            <a:solidFill>
              <a:srgbClr val="005C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ccine Supply Scenario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5618C34-379E-457B-9F51-AA68C3E94842}"/>
              </a:ext>
            </a:extLst>
          </p:cNvPr>
          <p:cNvSpPr/>
          <p:nvPr/>
        </p:nvSpPr>
        <p:spPr>
          <a:xfrm>
            <a:off x="3561615" y="3501286"/>
            <a:ext cx="999779" cy="725980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tion materials availab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686DCEF-7FB9-4900-8B92-8996C2891480}"/>
              </a:ext>
            </a:extLst>
          </p:cNvPr>
          <p:cNvSpPr txBox="1"/>
          <p:nvPr/>
        </p:nvSpPr>
        <p:spPr>
          <a:xfrm>
            <a:off x="9329693" y="2345568"/>
            <a:ext cx="2458248" cy="14542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rget Launch Window (Q2 2021)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6AE77BF-A255-4026-886C-52F4056F77D5}"/>
              </a:ext>
            </a:extLst>
          </p:cNvPr>
          <p:cNvSpPr/>
          <p:nvPr/>
        </p:nvSpPr>
        <p:spPr>
          <a:xfrm>
            <a:off x="3171932" y="4359355"/>
            <a:ext cx="8509498" cy="258960"/>
          </a:xfrm>
          <a:prstGeom prst="rect">
            <a:avLst/>
          </a:prstGeom>
          <a:solidFill>
            <a:schemeClr val="tx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activities for the upcoming months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2993FC98-1AC6-4701-AC91-85A3ADAFDEE3}"/>
              </a:ext>
            </a:extLst>
          </p:cNvPr>
          <p:cNvSpPr/>
          <p:nvPr/>
        </p:nvSpPr>
        <p:spPr>
          <a:xfrm rot="16200000">
            <a:off x="9470919" y="2092630"/>
            <a:ext cx="2209481" cy="2323963"/>
          </a:xfrm>
          <a:prstGeom prst="roundRect">
            <a:avLst/>
          </a:prstGeom>
          <a:noFill/>
          <a:ln w="9525">
            <a:solidFill>
              <a:srgbClr val="005C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Left-Right 8">
            <a:extLst>
              <a:ext uri="{FF2B5EF4-FFF2-40B4-BE49-F238E27FC236}">
                <a16:creationId xmlns:a16="http://schemas.microsoft.com/office/drawing/2014/main" id="{2CA515D9-1CBA-45B2-963A-4D2EBA86E71B}"/>
              </a:ext>
            </a:extLst>
          </p:cNvPr>
          <p:cNvSpPr/>
          <p:nvPr/>
        </p:nvSpPr>
        <p:spPr>
          <a:xfrm>
            <a:off x="4634428" y="3926813"/>
            <a:ext cx="1775546" cy="146730"/>
          </a:xfrm>
          <a:prstGeom prst="left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3FA5D1-0E1C-4FEB-8AF4-C71DE1EDF2AE}"/>
              </a:ext>
            </a:extLst>
          </p:cNvPr>
          <p:cNvSpPr/>
          <p:nvPr/>
        </p:nvSpPr>
        <p:spPr>
          <a:xfrm>
            <a:off x="4626113" y="3537492"/>
            <a:ext cx="17363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MC participants prepare application (e.g. NVDP)</a:t>
            </a:r>
          </a:p>
        </p:txBody>
      </p:sp>
      <p:sp>
        <p:nvSpPr>
          <p:cNvPr id="113" name="Arrow: Left-Right 112">
            <a:extLst>
              <a:ext uri="{FF2B5EF4-FFF2-40B4-BE49-F238E27FC236}">
                <a16:creationId xmlns:a16="http://schemas.microsoft.com/office/drawing/2014/main" id="{06C0CBD2-DAD8-417C-B674-F6A479D560DE}"/>
              </a:ext>
            </a:extLst>
          </p:cNvPr>
          <p:cNvSpPr>
            <a:spLocks/>
          </p:cNvSpPr>
          <p:nvPr/>
        </p:nvSpPr>
        <p:spPr>
          <a:xfrm>
            <a:off x="6545576" y="3934701"/>
            <a:ext cx="2023402" cy="144731"/>
          </a:xfrm>
          <a:prstGeom prst="left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0A81F0F-173B-4D3D-9444-20F78D77B973}"/>
              </a:ext>
            </a:extLst>
          </p:cNvPr>
          <p:cNvSpPr/>
          <p:nvPr/>
        </p:nvSpPr>
        <p:spPr>
          <a:xfrm>
            <a:off x="6701323" y="3579952"/>
            <a:ext cx="17363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view &amp; Allocation decision</a:t>
            </a:r>
          </a:p>
        </p:txBody>
      </p:sp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08D9CC35-BAA8-4994-80AA-C931D931B64C}"/>
              </a:ext>
            </a:extLst>
          </p:cNvPr>
          <p:cNvSpPr>
            <a:spLocks/>
          </p:cNvSpPr>
          <p:nvPr/>
        </p:nvSpPr>
        <p:spPr>
          <a:xfrm>
            <a:off x="8628462" y="3942664"/>
            <a:ext cx="3092647" cy="157693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992FC85-3E24-4D10-BA16-FA7136CEC318}"/>
              </a:ext>
            </a:extLst>
          </p:cNvPr>
          <p:cNvSpPr/>
          <p:nvPr/>
        </p:nvSpPr>
        <p:spPr>
          <a:xfrm>
            <a:off x="9170071" y="3696441"/>
            <a:ext cx="173634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hipment of vaccines</a:t>
            </a:r>
          </a:p>
        </p:txBody>
      </p:sp>
      <p:sp>
        <p:nvSpPr>
          <p:cNvPr id="122" name="Arrow: Left-Right 121">
            <a:extLst>
              <a:ext uri="{FF2B5EF4-FFF2-40B4-BE49-F238E27FC236}">
                <a16:creationId xmlns:a16="http://schemas.microsoft.com/office/drawing/2014/main" id="{2CAA8AEE-6655-4F5B-8B09-BA8E79783E30}"/>
              </a:ext>
            </a:extLst>
          </p:cNvPr>
          <p:cNvSpPr>
            <a:spLocks/>
          </p:cNvSpPr>
          <p:nvPr/>
        </p:nvSpPr>
        <p:spPr>
          <a:xfrm>
            <a:off x="7507913" y="3363420"/>
            <a:ext cx="1905765" cy="149420"/>
          </a:xfrm>
          <a:prstGeom prst="left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6D5BCFF-2AD3-4416-AB16-B462B7540BF9}"/>
              </a:ext>
            </a:extLst>
          </p:cNvPr>
          <p:cNvSpPr/>
          <p:nvPr/>
        </p:nvSpPr>
        <p:spPr>
          <a:xfrm>
            <a:off x="7569494" y="2979764"/>
            <a:ext cx="17363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itial supply available (Scenario 1)*</a:t>
            </a:r>
          </a:p>
        </p:txBody>
      </p:sp>
      <p:sp>
        <p:nvSpPr>
          <p:cNvPr id="124" name="Arrow: Left-Right 123">
            <a:extLst>
              <a:ext uri="{FF2B5EF4-FFF2-40B4-BE49-F238E27FC236}">
                <a16:creationId xmlns:a16="http://schemas.microsoft.com/office/drawing/2014/main" id="{172D2FF6-CB4A-44CC-987A-F583991E6D52}"/>
              </a:ext>
            </a:extLst>
          </p:cNvPr>
          <p:cNvSpPr>
            <a:spLocks/>
          </p:cNvSpPr>
          <p:nvPr/>
        </p:nvSpPr>
        <p:spPr>
          <a:xfrm>
            <a:off x="9455264" y="3360906"/>
            <a:ext cx="2265845" cy="148993"/>
          </a:xfrm>
          <a:prstGeom prst="left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84D4AFF-A241-43A8-BA9A-6623102D502B}"/>
              </a:ext>
            </a:extLst>
          </p:cNvPr>
          <p:cNvSpPr/>
          <p:nvPr/>
        </p:nvSpPr>
        <p:spPr>
          <a:xfrm>
            <a:off x="9637393" y="2996089"/>
            <a:ext cx="17363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CA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itial supply available (Scenarios 2 &amp; 3)*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B1EFCC7D-CB21-4A9E-8D59-AFD3DDC21C47}"/>
              </a:ext>
            </a:extLst>
          </p:cNvPr>
          <p:cNvSpPr/>
          <p:nvPr/>
        </p:nvSpPr>
        <p:spPr>
          <a:xfrm>
            <a:off x="4014216" y="3452775"/>
            <a:ext cx="146304" cy="147193"/>
          </a:xfrm>
          <a:prstGeom prst="triangl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ECB1F1-87FB-47B6-9A22-49F1E1551FA9}"/>
              </a:ext>
            </a:extLst>
          </p:cNvPr>
          <p:cNvSpPr/>
          <p:nvPr/>
        </p:nvSpPr>
        <p:spPr>
          <a:xfrm>
            <a:off x="11012557" y="6082748"/>
            <a:ext cx="1007165" cy="66260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83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A26692F5-F71E-4515-A910-8D31B1800207}"/>
              </a:ext>
            </a:extLst>
          </p:cNvPr>
          <p:cNvSpPr txBox="1"/>
          <p:nvPr/>
        </p:nvSpPr>
        <p:spPr>
          <a:xfrm>
            <a:off x="187095" y="1488037"/>
            <a:ext cx="549225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EU/EEA countries: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bania, Andorra, Azerbaijan, Bosnia and Herzegovina, Georgia, Serb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/EEA countries (as part of EU initiative of “Team Europe”: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Austria, Belgium, Bulgaria, Croatia, Cyprus, Czech Republic, Denmark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onia, Finland, France, Germany, Greece, Hungary, Iceland, Ireland, Italy, Latvia, Lithuania, Luxembourg, Malta, Netherlands, Norway, Poland, Portugal, Romania, Slovakia, Slovenia, Spain and Sweden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BC11E8-2C08-4E0C-86E1-296A831A2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98" y="584839"/>
            <a:ext cx="5762551" cy="5539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  <a:latin typeface="+mn-lt"/>
              </a:rPr>
              <a:t>Fully self-financing countries which have signed commitment agreements with COVAX facility (n=35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73708C-8DF1-4F1F-8923-F401F08ECE79}"/>
              </a:ext>
            </a:extLst>
          </p:cNvPr>
          <p:cNvSpPr/>
          <p:nvPr/>
        </p:nvSpPr>
        <p:spPr>
          <a:xfrm>
            <a:off x="187095" y="5304097"/>
            <a:ext cx="48623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By 09 October 2020, these countries should commit to the down-payment (depending on joining terms and options; ~15% of total cost of procurement)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5D340C-9E08-4708-BC57-7CCD31CFBC1F}"/>
              </a:ext>
            </a:extLst>
          </p:cNvPr>
          <p:cNvSpPr txBox="1"/>
          <p:nvPr/>
        </p:nvSpPr>
        <p:spPr>
          <a:xfrm>
            <a:off x="-1" y="6596390"/>
            <a:ext cx="8749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ource: </a:t>
            </a:r>
            <a:r>
              <a:rPr lang="en-US" sz="1100" i="1" dirty="0">
                <a:solidFill>
                  <a:prstClr val="black"/>
                </a:solidFill>
              </a:rPr>
              <a:t>https://www.gavi.org/news/media-room/boost-global-response-covid-19-economies-worldwide-formally-sign-covax-facility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8661B9-D288-452B-86B2-5DE47F6984C9}"/>
              </a:ext>
            </a:extLst>
          </p:cNvPr>
          <p:cNvSpPr txBox="1">
            <a:spLocks/>
          </p:cNvSpPr>
          <p:nvPr/>
        </p:nvSpPr>
        <p:spPr>
          <a:xfrm>
            <a:off x="6321341" y="556154"/>
            <a:ext cx="5785606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000" dirty="0">
                <a:solidFill>
                  <a:srgbClr val="0070C0"/>
                </a:solidFill>
                <a:latin typeface="+mn-lt"/>
              </a:rPr>
              <a:t>Fully self-financing countries which have submitted their non-binding expression of interest to COVAX facility but did not sign the commitment agreement (n=10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A53CA3-D65A-4478-9965-BDBBF7F0233C}"/>
              </a:ext>
            </a:extLst>
          </p:cNvPr>
          <p:cNvSpPr txBox="1"/>
          <p:nvPr/>
        </p:nvSpPr>
        <p:spPr>
          <a:xfrm>
            <a:off x="6447281" y="2052963"/>
            <a:ext cx="460487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EU/EEA countries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menia, Israel, Montenegro, North Macedonia, Turkey and </a:t>
            </a:r>
            <a:r>
              <a:rPr lang="en-US" sz="2000" dirty="0">
                <a:solidFill>
                  <a:prstClr val="black"/>
                </a:solidFill>
              </a:rPr>
              <a:t>Turkmenistan.</a:t>
            </a:r>
          </a:p>
          <a:p>
            <a:pPr lvl="0">
              <a:defRPr/>
            </a:pPr>
            <a:endParaRPr lang="en-US" sz="2000" dirty="0">
              <a:solidFill>
                <a:prstClr val="black"/>
              </a:solidFill>
            </a:endParaRPr>
          </a:p>
          <a:p>
            <a:pPr lvl="0">
              <a:defRPr/>
            </a:pPr>
            <a:r>
              <a:rPr lang="en-US" sz="2000" dirty="0">
                <a:solidFill>
                  <a:prstClr val="black"/>
                </a:solidFill>
              </a:rPr>
              <a:t>Monaco, San Marino and Switzerland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/EEA countries:</a:t>
            </a: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United</a:t>
            </a: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ngdom of Great Britain and Northern Ireland (the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B0ECF3-5D22-46A5-AC00-EFDEAC75FFA2}"/>
              </a:ext>
            </a:extLst>
          </p:cNvPr>
          <p:cNvSpPr/>
          <p:nvPr/>
        </p:nvSpPr>
        <p:spPr>
          <a:xfrm>
            <a:off x="6447281" y="5304098"/>
            <a:ext cx="48623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By 09 October 2020, countries should send the binding document and commit to the down-payment (depending on joining terms and options; ~15% of total cost of procurement)</a:t>
            </a:r>
          </a:p>
          <a:p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A8EFA2-16A2-46AE-91CD-B17731F436E5}"/>
              </a:ext>
            </a:extLst>
          </p:cNvPr>
          <p:cNvCxnSpPr/>
          <p:nvPr/>
        </p:nvCxnSpPr>
        <p:spPr>
          <a:xfrm>
            <a:off x="5949645" y="604007"/>
            <a:ext cx="0" cy="566331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70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4BC11E8-2C08-4E0C-86E1-296A831A2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1755" y="838447"/>
            <a:ext cx="5206295" cy="664797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2400" dirty="0">
                <a:solidFill>
                  <a:srgbClr val="0070C0"/>
                </a:solidFill>
                <a:latin typeface="+mn-lt"/>
              </a:rPr>
              <a:t>Financially</a:t>
            </a:r>
            <a:r>
              <a:rPr lang="en-US" sz="2400" dirty="0">
                <a:solidFill>
                  <a:srgbClr val="0070C0"/>
                </a:solidFill>
              </a:rPr>
              <a:t> supported countries (n=5) through official development assistance</a:t>
            </a:r>
            <a:r>
              <a:rPr lang="en-US" sz="2400" b="1" dirty="0">
                <a:solidFill>
                  <a:srgbClr val="0070C0"/>
                </a:solidFill>
              </a:rPr>
              <a:t>*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9D0918-108E-45DC-A906-653DE6AAC507}"/>
              </a:ext>
            </a:extLst>
          </p:cNvPr>
          <p:cNvSpPr txBox="1"/>
          <p:nvPr/>
        </p:nvSpPr>
        <p:spPr>
          <a:xfrm>
            <a:off x="6895750" y="2201998"/>
            <a:ext cx="437066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of countries: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yrgyzstan, Republic of Moldova, Tajikistan, Ukraine and Uzbekist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Kosovo (United Nations Security Council resolution 1244 (1999)) is eligible as per Gavi’s li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7766DE-2400-4279-84D1-915E137D8EF9}"/>
              </a:ext>
            </a:extLst>
          </p:cNvPr>
          <p:cNvSpPr txBox="1"/>
          <p:nvPr/>
        </p:nvSpPr>
        <p:spPr>
          <a:xfrm>
            <a:off x="0" y="6427113"/>
            <a:ext cx="68957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ource: WHO HQ shared information and also available here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gavi.org/news/media-room/92-low-middle-income-economies-eligible-access-covid-19-vaccines-gavi-covax-amc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F24BC4D-CE98-4B23-8A34-62DEFBE7D563}"/>
              </a:ext>
            </a:extLst>
          </p:cNvPr>
          <p:cNvSpPr txBox="1">
            <a:spLocks/>
          </p:cNvSpPr>
          <p:nvPr/>
        </p:nvSpPr>
        <p:spPr>
          <a:xfrm>
            <a:off x="527082" y="838447"/>
            <a:ext cx="5237528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70C0"/>
                </a:solidFill>
                <a:latin typeface="+mn-lt"/>
              </a:rPr>
              <a:t>Fully self-financing countries which did not submit expression of interest to COVAX facility (n=3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735153-1B21-41DA-BBEA-10EF4C56E320}"/>
              </a:ext>
            </a:extLst>
          </p:cNvPr>
          <p:cNvSpPr txBox="1"/>
          <p:nvPr/>
        </p:nvSpPr>
        <p:spPr>
          <a:xfrm>
            <a:off x="669694" y="2413605"/>
            <a:ext cx="3935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400" b="1" u="sng" dirty="0">
                <a:solidFill>
                  <a:prstClr val="black"/>
                </a:solidFill>
              </a:rPr>
              <a:t>List of countries:</a:t>
            </a:r>
            <a:r>
              <a:rPr lang="en-US" sz="2400" b="1" dirty="0">
                <a:solidFill>
                  <a:prstClr val="black"/>
                </a:solidFill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arus, Kazakhstan and Russian Feder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26E5984-CAEC-45F5-9D65-19A4C7E7DB4E}"/>
              </a:ext>
            </a:extLst>
          </p:cNvPr>
          <p:cNvCxnSpPr/>
          <p:nvPr/>
        </p:nvCxnSpPr>
        <p:spPr>
          <a:xfrm>
            <a:off x="5964572" y="906011"/>
            <a:ext cx="58723" cy="4219662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1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67D98-A930-469C-8837-1469F36F0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347" y="136227"/>
            <a:ext cx="12192000" cy="430887"/>
          </a:xfrm>
          <a:extLst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  <a:latin typeface="+mn-lt"/>
                <a:sym typeface="+mj-lt"/>
              </a:rPr>
              <a:t>WHO Europe Regional Working Group on COVID-19 vaccina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22740C3-C816-4E55-81F3-0E1BA2ADA13F}"/>
              </a:ext>
            </a:extLst>
          </p:cNvPr>
          <p:cNvSpPr txBox="1"/>
          <p:nvPr/>
        </p:nvSpPr>
        <p:spPr>
          <a:xfrm>
            <a:off x="4140439" y="6167289"/>
            <a:ext cx="46568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cal oversight by European Technical Group of Experts on Immunization (ETAGE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37654E3-4C6C-49CE-AFA4-9FA377D17362}"/>
              </a:ext>
            </a:extLst>
          </p:cNvPr>
          <p:cNvGrpSpPr/>
          <p:nvPr/>
        </p:nvGrpSpPr>
        <p:grpSpPr>
          <a:xfrm>
            <a:off x="8398194" y="3286127"/>
            <a:ext cx="399110" cy="577146"/>
            <a:chOff x="8398194" y="3448659"/>
            <a:chExt cx="399110" cy="414613"/>
          </a:xfrm>
        </p:grpSpPr>
        <p:sp>
          <p:nvSpPr>
            <p:cNvPr id="118" name="Arrow: Right 117">
              <a:extLst>
                <a:ext uri="{FF2B5EF4-FFF2-40B4-BE49-F238E27FC236}">
                  <a16:creationId xmlns:a16="http://schemas.microsoft.com/office/drawing/2014/main" id="{3C9894C3-5834-42B0-B4FF-104C8F7F0715}"/>
                </a:ext>
              </a:extLst>
            </p:cNvPr>
            <p:cNvSpPr/>
            <p:nvPr/>
          </p:nvSpPr>
          <p:spPr>
            <a:xfrm>
              <a:off x="8398194" y="3448659"/>
              <a:ext cx="231006" cy="2113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Arrow: Right 118">
              <a:extLst>
                <a:ext uri="{FF2B5EF4-FFF2-40B4-BE49-F238E27FC236}">
                  <a16:creationId xmlns:a16="http://schemas.microsoft.com/office/drawing/2014/main" id="{3619BE82-9A45-44A3-9CA8-A212782D37D4}"/>
                </a:ext>
              </a:extLst>
            </p:cNvPr>
            <p:cNvSpPr/>
            <p:nvPr/>
          </p:nvSpPr>
          <p:spPr>
            <a:xfrm rot="10800000">
              <a:off x="8566298" y="3651960"/>
              <a:ext cx="231006" cy="2113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66B8358-2DDA-4D92-A297-7E4997D0C056}"/>
              </a:ext>
            </a:extLst>
          </p:cNvPr>
          <p:cNvGrpSpPr/>
          <p:nvPr/>
        </p:nvGrpSpPr>
        <p:grpSpPr>
          <a:xfrm>
            <a:off x="3727400" y="3286126"/>
            <a:ext cx="423174" cy="566734"/>
            <a:chOff x="3727400" y="3429000"/>
            <a:chExt cx="423174" cy="423859"/>
          </a:xfrm>
        </p:grpSpPr>
        <p:sp>
          <p:nvSpPr>
            <p:cNvPr id="125" name="Arrow: Right 124">
              <a:extLst>
                <a:ext uri="{FF2B5EF4-FFF2-40B4-BE49-F238E27FC236}">
                  <a16:creationId xmlns:a16="http://schemas.microsoft.com/office/drawing/2014/main" id="{0835C4A7-21B5-4E66-AC25-3D3C6FE1615D}"/>
                </a:ext>
              </a:extLst>
            </p:cNvPr>
            <p:cNvSpPr/>
            <p:nvPr/>
          </p:nvSpPr>
          <p:spPr>
            <a:xfrm>
              <a:off x="3727400" y="3429000"/>
              <a:ext cx="244934" cy="216024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Arrow: Right 125">
              <a:extLst>
                <a:ext uri="{FF2B5EF4-FFF2-40B4-BE49-F238E27FC236}">
                  <a16:creationId xmlns:a16="http://schemas.microsoft.com/office/drawing/2014/main" id="{C344B93A-7F1A-4828-95BD-9679B5602B26}"/>
                </a:ext>
              </a:extLst>
            </p:cNvPr>
            <p:cNvSpPr/>
            <p:nvPr/>
          </p:nvSpPr>
          <p:spPr>
            <a:xfrm rot="10800000">
              <a:off x="3905640" y="3636835"/>
              <a:ext cx="244934" cy="216024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EC3E7C-6C6E-4F2C-8825-682CD0EBA3E3}"/>
              </a:ext>
            </a:extLst>
          </p:cNvPr>
          <p:cNvGrpSpPr/>
          <p:nvPr/>
        </p:nvGrpSpPr>
        <p:grpSpPr>
          <a:xfrm>
            <a:off x="5970578" y="5571043"/>
            <a:ext cx="596022" cy="472076"/>
            <a:chOff x="5939324" y="5179054"/>
            <a:chExt cx="596022" cy="472076"/>
          </a:xfrm>
        </p:grpSpPr>
        <p:sp>
          <p:nvSpPr>
            <p:cNvPr id="128" name="Arrow: Right 127">
              <a:extLst>
                <a:ext uri="{FF2B5EF4-FFF2-40B4-BE49-F238E27FC236}">
                  <a16:creationId xmlns:a16="http://schemas.microsoft.com/office/drawing/2014/main" id="{F8987CF6-998D-4CE6-A169-F370B271708F}"/>
                </a:ext>
              </a:extLst>
            </p:cNvPr>
            <p:cNvSpPr/>
            <p:nvPr/>
          </p:nvSpPr>
          <p:spPr>
            <a:xfrm rot="16200000">
              <a:off x="5954589" y="5362626"/>
              <a:ext cx="273239" cy="303769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Arrow: Right 128">
              <a:extLst>
                <a:ext uri="{FF2B5EF4-FFF2-40B4-BE49-F238E27FC236}">
                  <a16:creationId xmlns:a16="http://schemas.microsoft.com/office/drawing/2014/main" id="{3DFE2170-915D-44BF-9D44-C34F47DE65F7}"/>
                </a:ext>
              </a:extLst>
            </p:cNvPr>
            <p:cNvSpPr/>
            <p:nvPr/>
          </p:nvSpPr>
          <p:spPr>
            <a:xfrm rot="5400000">
              <a:off x="6246842" y="5163789"/>
              <a:ext cx="273239" cy="303769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232DFFE-A6E5-4FC9-BEF3-581DA51CD272}"/>
              </a:ext>
            </a:extLst>
          </p:cNvPr>
          <p:cNvGrpSpPr/>
          <p:nvPr/>
        </p:nvGrpSpPr>
        <p:grpSpPr>
          <a:xfrm>
            <a:off x="5850997" y="1763265"/>
            <a:ext cx="561090" cy="509222"/>
            <a:chOff x="5974256" y="1787677"/>
            <a:chExt cx="561090" cy="509222"/>
          </a:xfrm>
        </p:grpSpPr>
        <p:sp>
          <p:nvSpPr>
            <p:cNvPr id="131" name="Arrow: Right 130">
              <a:extLst>
                <a:ext uri="{FF2B5EF4-FFF2-40B4-BE49-F238E27FC236}">
                  <a16:creationId xmlns:a16="http://schemas.microsoft.com/office/drawing/2014/main" id="{7DA42996-018B-40EC-ACD2-68103B07847D}"/>
                </a:ext>
              </a:extLst>
            </p:cNvPr>
            <p:cNvSpPr/>
            <p:nvPr/>
          </p:nvSpPr>
          <p:spPr>
            <a:xfrm rot="16200000">
              <a:off x="5969869" y="2006547"/>
              <a:ext cx="294739" cy="285965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Arrow: Right 131">
              <a:extLst>
                <a:ext uri="{FF2B5EF4-FFF2-40B4-BE49-F238E27FC236}">
                  <a16:creationId xmlns:a16="http://schemas.microsoft.com/office/drawing/2014/main" id="{13F98FA4-22CD-4E55-9202-BF36B7002F69}"/>
                </a:ext>
              </a:extLst>
            </p:cNvPr>
            <p:cNvSpPr/>
            <p:nvPr/>
          </p:nvSpPr>
          <p:spPr>
            <a:xfrm rot="5400000">
              <a:off x="6244994" y="1792064"/>
              <a:ext cx="294739" cy="285965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ED94FF39-D318-4C24-ABB2-B08D7F87C620}"/>
              </a:ext>
            </a:extLst>
          </p:cNvPr>
          <p:cNvSpPr txBox="1"/>
          <p:nvPr/>
        </p:nvSpPr>
        <p:spPr>
          <a:xfrm>
            <a:off x="4043194" y="687447"/>
            <a:ext cx="425775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 Stat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al and National partners, National public health institutes, research institutes, Regional professional bodies/organizations and network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6788318-1E3A-471D-B612-A256D986F105}"/>
              </a:ext>
            </a:extLst>
          </p:cNvPr>
          <p:cNvGrpSpPr/>
          <p:nvPr/>
        </p:nvGrpSpPr>
        <p:grpSpPr>
          <a:xfrm>
            <a:off x="8869712" y="1432632"/>
            <a:ext cx="3285421" cy="3699737"/>
            <a:chOff x="8862073" y="1719052"/>
            <a:chExt cx="3285421" cy="3539811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67752F5-336C-42D9-83BB-B093AD542FCC}"/>
                </a:ext>
              </a:extLst>
            </p:cNvPr>
            <p:cNvSpPr/>
            <p:nvPr/>
          </p:nvSpPr>
          <p:spPr>
            <a:xfrm>
              <a:off x="8862073" y="1731011"/>
              <a:ext cx="3168351" cy="35278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06B9E5E-E02F-4BA4-9D47-27478E7231D2}"/>
                </a:ext>
              </a:extLst>
            </p:cNvPr>
            <p:cNvSpPr txBox="1"/>
            <p:nvPr/>
          </p:nvSpPr>
          <p:spPr>
            <a:xfrm>
              <a:off x="8915074" y="1719052"/>
              <a:ext cx="3232420" cy="559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al COVID-19 Advisory Mechanisms and Working Groups</a:t>
              </a: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4E01649-868C-4DAB-B51F-82F6B46422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98696" y="2359300"/>
              <a:ext cx="2613221" cy="46665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&amp;D Blueprint Scientific Advisory Committee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3F047275-5A6F-4CC5-81C3-90CA92A7F4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98697" y="2889504"/>
              <a:ext cx="2631296" cy="46665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uct Development Vaccine Advisory Committee 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EDF93CC7-D71E-4418-866B-2852F1B3AB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80615" y="3417078"/>
              <a:ext cx="2649380" cy="46665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al Advisory Committee on Vaccine Safety 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4D2C3085-F710-4CAF-8FC5-B4E6F96C85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80194" y="3944651"/>
              <a:ext cx="2649380" cy="61596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AGE working group on COVID-19 vaccines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vaccination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47AAD35B-04AC-42FF-8C28-B188A281B6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89835" y="4627714"/>
              <a:ext cx="2649380" cy="46665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ess to COVID-19 Tools (ACT) Accelerator Working Groups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97ED4E-6312-4F78-B1D2-CFFFE4DDBE35}"/>
              </a:ext>
            </a:extLst>
          </p:cNvPr>
          <p:cNvGrpSpPr/>
          <p:nvPr/>
        </p:nvGrpSpPr>
        <p:grpSpPr>
          <a:xfrm>
            <a:off x="204040" y="874643"/>
            <a:ext cx="3468725" cy="5631686"/>
            <a:chOff x="204041" y="896589"/>
            <a:chExt cx="3429654" cy="560974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5775195-6E37-42CE-9605-317D381D9174}"/>
                </a:ext>
              </a:extLst>
            </p:cNvPr>
            <p:cNvGrpSpPr/>
            <p:nvPr/>
          </p:nvGrpSpPr>
          <p:grpSpPr>
            <a:xfrm>
              <a:off x="204041" y="896589"/>
              <a:ext cx="3429654" cy="5609740"/>
              <a:chOff x="204041" y="896589"/>
              <a:chExt cx="3429654" cy="5609740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F9571476-33B6-41E8-8323-4DCDFAF75537}"/>
                  </a:ext>
                </a:extLst>
              </p:cNvPr>
              <p:cNvSpPr/>
              <p:nvPr/>
            </p:nvSpPr>
            <p:spPr>
              <a:xfrm>
                <a:off x="204041" y="896589"/>
                <a:ext cx="3429654" cy="560974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B753F740-3F76-4543-8B8C-84D86852CD1E}"/>
                  </a:ext>
                </a:extLst>
              </p:cNvPr>
              <p:cNvSpPr txBox="1"/>
              <p:nvPr/>
            </p:nvSpPr>
            <p:spPr>
              <a:xfrm>
                <a:off x="204041" y="900824"/>
                <a:ext cx="3292312" cy="4598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WHO EURO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VID-19 </a:t>
                </a:r>
                <a:r>
                  <a:rPr lang="en-US" sz="1200" b="1" dirty="0"/>
                  <a:t>Incident Management Support Team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A69DF22A-7A39-4F65-B6DD-4EC070176867}"/>
                  </a:ext>
                </a:extLst>
              </p:cNvPr>
              <p:cNvSpPr txBox="1"/>
              <p:nvPr/>
            </p:nvSpPr>
            <p:spPr>
              <a:xfrm>
                <a:off x="739157" y="4336208"/>
                <a:ext cx="2160502" cy="4059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ctr">
                  <a:defRPr sz="1200" b="1">
                    <a:solidFill>
                      <a:schemeClr val="bg1"/>
                    </a:solidFill>
                    <a:latin typeface="Calibri"/>
                  </a:defRPr>
                </a:lvl1pPr>
                <a:lvl2pPr>
                  <a:defRPr>
                    <a:solidFill>
                      <a:schemeClr val="dk1"/>
                    </a:solidFill>
                  </a:defRPr>
                </a:lvl2pPr>
                <a:lvl3pPr>
                  <a:defRPr>
                    <a:solidFill>
                      <a:schemeClr val="dk1"/>
                    </a:solidFill>
                  </a:defRPr>
                </a:lvl3pPr>
                <a:lvl4pPr>
                  <a:defRPr>
                    <a:solidFill>
                      <a:schemeClr val="dk1"/>
                    </a:solidFill>
                  </a:defRPr>
                </a:lvl4pPr>
                <a:lvl5pPr>
                  <a:defRPr>
                    <a:solidFill>
                      <a:schemeClr val="dk1"/>
                    </a:solidFill>
                  </a:defRPr>
                </a:lvl5pPr>
                <a:lvl6pPr>
                  <a:defRPr>
                    <a:solidFill>
                      <a:schemeClr val="dk1"/>
                    </a:solidFill>
                  </a:defRPr>
                </a:lvl6pPr>
                <a:lvl7pPr>
                  <a:defRPr>
                    <a:solidFill>
                      <a:schemeClr val="dk1"/>
                    </a:solidFill>
                  </a:defRPr>
                </a:lvl7pPr>
                <a:lvl8pPr>
                  <a:defRPr>
                    <a:solidFill>
                      <a:schemeClr val="dk1"/>
                    </a:solidFill>
                  </a:defRPr>
                </a:lvl8pPr>
                <a:lvl9pPr>
                  <a:defRPr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LINICAL &amp; </a:t>
                </a: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HEALTH INTERVENTIONS</a:t>
                </a: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5F73FE68-5CFC-472F-A0DF-8B522183C6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9559" y="2533468"/>
                <a:ext cx="2159334" cy="393192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OMMUNICATION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551ACF05-B6AE-4AEB-9014-6B6FB03345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9011" y="3871349"/>
                <a:ext cx="2159883" cy="427489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URVEILLANCE, </a:t>
                </a: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PI AND ANALYTICS</a:t>
                </a: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9DBB030-481B-45FE-9BAA-4A26F0779E2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391" y="3395365"/>
                <a:ext cx="2160500" cy="444639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MERGENCY PUBLIC HEALTH MEASURES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496BCF5E-5F70-4E2F-97AA-2833AD9724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392" y="2961135"/>
                <a:ext cx="2169738" cy="39588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OUNTRY OPERATIONS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32FB717A-5021-438C-862E-2A9294D256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9560" y="2137091"/>
                <a:ext cx="2159331" cy="360656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DMIN AND FINANCE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9A84E627-7CE2-4DF3-9694-9876680FEF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2737" y="5179467"/>
                <a:ext cx="2165392" cy="36628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ACCINE WORKING GROUP</a:t>
                </a: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07801726-268B-41BB-B42D-0DFA127B383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392" y="4770436"/>
                <a:ext cx="2160502" cy="368913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KEY ENABLING FUNCTIONS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DDFD97F-47AF-471A-A723-20672EF9FA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7627" y="5580287"/>
                <a:ext cx="2160502" cy="16240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9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all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PECIAL PROJECTS PILLAR</a:t>
                </a:r>
              </a:p>
            </p:txBody>
          </p:sp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141ED15-260E-499A-BD25-EBF1B052E4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1560" y="1331180"/>
              <a:ext cx="2157333" cy="38015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GIONAL OFFICE LEADERSHIP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E371C59-27E4-4D74-9F09-A8DC72033B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8390" y="1752433"/>
              <a:ext cx="2160503" cy="35067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CIDENT LEADERSHIP &amp; MANAGEMENT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767A47A-180B-4833-9BD5-9CCE2F74C1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0790" y="5991506"/>
              <a:ext cx="1373543" cy="3801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EALTH SYSTEMS COORDINATION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D3F5A83-8C19-45DB-80C8-0FF94C7BB8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5686" y="6010643"/>
              <a:ext cx="1373543" cy="3801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UB COORDINATORS</a:t>
              </a:r>
            </a:p>
          </p:txBody>
        </p:sp>
      </p:grp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830C425-9925-475F-9D51-8DB4A935DE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7164908"/>
              </p:ext>
            </p:extLst>
          </p:nvPr>
        </p:nvGraphicFramePr>
        <p:xfrm>
          <a:off x="4109492" y="2381212"/>
          <a:ext cx="4324335" cy="3315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39813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i0YSCMpFup.6JeJda70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dIMxHt1ESxhq1ljLkRY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VX8b9fy5sgLZXBtS3P7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2rM8k9yv9H1DmKeumqI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pNLISvFZirL7EwGpzUC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69JO.jzuQYs_1DSoWuW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P6FyKRThGzwoeT0iTt3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pD5wlSa15Bd5_C_0Mv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Alrq0EL77Tge5xfKZS2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GbizUoUy31jrLqaOE2R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GXAbxGu86yurS5ijD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VrJuO8rFmngC1MQKmt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ealIimdI4vt7MtwHAc4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KgOT1g8eWcxNa6Yser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PF9_5GwqcSJcocuA9Rh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XK9SZqw9.Rpm8LZGd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XK9SZqw9.Rpm8LZGdH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Pr4uZ6m.ZSdcYCNdrnz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Nj_kIfsuinFcUDuGX6C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LYCGPTqIWeTShwYsN8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4mYxy.d6AFpQVZTHeBj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2LC_B5dI3wOI1wL2oGJ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6jPu8I8Rak3XuB6czcf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ye_utstlIpjy5y6BOY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kxZCLegT_x3LQh9mVy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P6FyKRThGzwoeT0iTt3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LYCGPTqIWeTShwYsN8f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8QcSu_RoYDJQ6V3cTe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mZ3mAtLmNsJlGMFLAd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Nox662a51ttQ89zGE9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i0YSCMpFup.6JeJda70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VX8b9fy5sgLZXBtS3P7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2rM8k9yv9H1DmKeumqI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pNLISvFZirL7EwGpzUC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69JO.jzuQYs_1DSoWuW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pD5wlSa15Bd5_C_0Mv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Alrq0EL77Tge5xfKZS2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GbizUoUy31jrLqaOE2R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GXAbxGu86yurS5ijDt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8QcSu_RoYDJQ6V3cT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zNAPG1bFzZEtoXmKduB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VrJuO8rFmngC1MQKmt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ealIimdI4vt7MtwHAc4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KgOT1g8eWcxNa6Yser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PF9_5GwqcSJcocuA9Rh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Pr4uZ6m.ZSdcYCNdrnz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Nj_kIfsuinFcUDuGX6C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4mYxy.d6AFpQVZTHeBj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2LC_B5dI3wOI1wL2oGJ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6jPu8I8Rak3XuB6czcf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ye_utstlIpjy5y6BO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M0ivzijTnCYWa1N2_D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kxZCLegT_x3LQh9mVy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mZ3mAtLmNsJlGMFLAd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zNAPG1bFzZEtoXmKduB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M0ivzijTnCYWa1N2_D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s8SsDKJvkoJAuDc_c01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3tauenidbOwU08NIPkF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s8SsDKJvkoJAuDc_c01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LSyrJGH34W3tiaUDpn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zXvlOuYx.fqomiqG.M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d1koMD2AyEzIiKHyIjQ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DsX7aLL1yYNy0y8j5Ej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cfmeYdqd7gd9bdMijG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vJQoGxOB1eKcWsKAUDt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0eL.8U8Y8TrDxEH9ZH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4o9VUSntDQSp1Yy437W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4z1dkNmLpc8IqIICUR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lgaJofZEc.nNmMVh802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3tauenidbOwU08NIPkF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lnkqcB5km_87l4TE.a9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QDqLg9W60e55.3CmRJ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vq3ee3Mf7FIFUfZEcN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V2ZFe3c8u.B6JDwNTU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2cBXzHN91n7SIV_ovEQ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Mlmn0Q6oPvU9ppvMXR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LSyrJGH34W3tiaUDpn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dIMxHt1ESxhq1ljLkRY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KgOT1g8eWcxNa6Yser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zXvlOuYx.fqomiqG.M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d1koMD2AyEzIiKHyIjQ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DsX7aLL1yYNy0y8j5Ej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cfmeYdqd7gd9bdMijG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c2fFtGEl.CKXBNXPjZR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vJQoGxOB1eKcWsKAUDt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0F6n5AKSaptudeEdeqH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iVR.IDPS22rxC4cRroT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39267775853755"/>
  <p:tag name="LEFT" val="45"/>
  <p:tag name="WIDTH" val="276.6667"/>
  <p:tag name="TOP" val="139.3875"/>
  <p:tag name="HEIGHT" val="100.2042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39267775853755"/>
  <p:tag name="LEFT" val="45"/>
  <p:tag name="WIDTH" val="276.6667"/>
  <p:tag name="TOP" val="249.5917"/>
  <p:tag name="HEIGHT" val="100.2042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39267775853755"/>
  <p:tag name="LEFT" val="45"/>
  <p:tag name="WIDTH" val="276.6667"/>
  <p:tag name="TOP" val="359.7958"/>
  <p:tag name="HEIGHT" val="100.2042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39267775853755"/>
  <p:tag name="LEFT" val="45"/>
  <p:tag name="WIDTH" val="276.6667"/>
  <p:tag name="TOP" val="139.3875"/>
  <p:tag name="HEIGHT" val="100.2042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IAjeixmruZKFZE5GZke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Nox662a51ttQ89zGE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0eL.8U8Y8TrDxEH9Z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4o9VUSntDQSp1Yy437W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4z1dkNmLpc8IqIICU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lgaJofZEc.nNmMVh802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lnkqcB5km_87l4TE.a9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QDqLg9W60e55.3CmRJ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vq3ee3Mf7FIFUfZEcN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V2ZFe3c8u.B6JDwNTU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2cBXzHN91n7SIV_ovE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Mlmn0Q6oPvU9ppvMXRQ"/>
</p:tagLst>
</file>

<file path=ppt/theme/theme1.xml><?xml version="1.0" encoding="utf-8"?>
<a:theme xmlns:a="http://schemas.openxmlformats.org/drawingml/2006/main" name="1_BCG Grid 16:9">
  <a:themeElements>
    <a:clrScheme name="WHO Grid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D4D4D"/>
      </a:accent1>
      <a:accent2>
        <a:srgbClr val="969696"/>
      </a:accent2>
      <a:accent3>
        <a:srgbClr val="808080"/>
      </a:accent3>
      <a:accent4>
        <a:srgbClr val="B2B2B2"/>
      </a:accent4>
      <a:accent5>
        <a:srgbClr val="5F5F5F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D4D4D"/>
        </a:accent1>
        <a:accent2>
          <a:srgbClr val="969696"/>
        </a:accent2>
        <a:accent3>
          <a:srgbClr val="808080"/>
        </a:accent3>
        <a:accent4>
          <a:srgbClr val="B2B2B2"/>
        </a:accent4>
        <a:accent5>
          <a:srgbClr val="5F5F5F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292_OFF.potx" id="{B9788C92-DFE4-4FAC-85BD-740F0F30D145}" vid="{DB162D18-532E-429A-94C6-F9CC17B5C802}"/>
    </a:ext>
  </a:extLst>
</a:theme>
</file>

<file path=ppt/theme/theme3.xml><?xml version="1.0" encoding="utf-8"?>
<a:theme xmlns:a="http://schemas.openxmlformats.org/drawingml/2006/main" name="BCG Grid 16:9">
  <a:themeElements>
    <a:clrScheme name="WHO Grid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4D4D4D"/>
      </a:lt1>
      <a:dk2>
        <a:srgbClr val="000000"/>
      </a:dk2>
      <a:lt2>
        <a:srgbClr val="000000"/>
      </a:lt2>
      <a:accent1>
        <a:srgbClr val="FFFFFF"/>
      </a:accent1>
      <a:accent2>
        <a:srgbClr val="969696"/>
      </a:accent2>
      <a:accent3>
        <a:srgbClr val="808080"/>
      </a:accent3>
      <a:accent4>
        <a:srgbClr val="B2B2B2"/>
      </a:accent4>
      <a:accent5>
        <a:srgbClr val="5F5F5F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4D4D4D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969696"/>
        </a:accent2>
        <a:accent3>
          <a:srgbClr val="808080"/>
        </a:accent3>
        <a:accent4>
          <a:srgbClr val="B2B2B2"/>
        </a:accent4>
        <a:accent5>
          <a:srgbClr val="5F5F5F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292_OFF.potx" id="{B9788C92-DFE4-4FAC-85BD-740F0F30D145}" vid="{7CDD0DF9-C015-4E1D-AC3B-8899D4533376}"/>
    </a:ext>
  </a:extLst>
</a:theme>
</file>

<file path=ppt/theme/theme5.xml><?xml version="1.0" encoding="utf-8"?>
<a:theme xmlns:a="http://schemas.openxmlformats.org/drawingml/2006/main" name="6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4D4D4D"/>
      </a:accent1>
      <a:accent2>
        <a:srgbClr val="969696"/>
      </a:accent2>
      <a:accent3>
        <a:srgbClr val="808080"/>
      </a:accent3>
      <a:accent4>
        <a:srgbClr val="B2B2B2"/>
      </a:accent4>
      <a:accent5>
        <a:srgbClr val="5F5F5F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D4D4D"/>
        </a:accent1>
        <a:accent2>
          <a:srgbClr val="969696"/>
        </a:accent2>
        <a:accent3>
          <a:srgbClr val="808080"/>
        </a:accent3>
        <a:accent4>
          <a:srgbClr val="B2B2B2"/>
        </a:accent4>
        <a:accent5>
          <a:srgbClr val="5F5F5F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292_OFF.potx" id="{B9788C92-DFE4-4FAC-85BD-740F0F30D145}" vid="{DB162D18-532E-429A-94C6-F9CC17B5C802}"/>
    </a:ext>
  </a:extLst>
</a:theme>
</file>

<file path=ppt/theme/theme6.xml><?xml version="1.0" encoding="utf-8"?>
<a:theme xmlns:a="http://schemas.openxmlformats.org/drawingml/2006/main" name="2_BCG Grid 16:9">
  <a:themeElements>
    <a:clrScheme name="WHO Grid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3_BCG Grid 16:9">
  <a:themeElements>
    <a:clrScheme name="WHO Grid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1E82C0C8F8F44E96EA0FC5D5223B03" ma:contentTypeVersion="8" ma:contentTypeDescription="Create a new document." ma:contentTypeScope="" ma:versionID="70dc6b7a835fdb2c1f95312572be215d">
  <xsd:schema xmlns:xsd="http://www.w3.org/2001/XMLSchema" xmlns:xs="http://www.w3.org/2001/XMLSchema" xmlns:p="http://schemas.microsoft.com/office/2006/metadata/properties" xmlns:ns2="d7396824-049c-4c98-bf01-6625ac2823af" targetNamespace="http://schemas.microsoft.com/office/2006/metadata/properties" ma:root="true" ma:fieldsID="644e28df2b0ad0135a1733ee4ed7d05e" ns2:_="">
    <xsd:import namespace="d7396824-049c-4c98-bf01-6625ac2823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396824-049c-4c98-bf01-6625ac2823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58E68E-2CBC-4E3B-9660-496DC510034D}">
  <ds:schemaRefs>
    <ds:schemaRef ds:uri="http://purl.org/dc/elements/1.1/"/>
    <ds:schemaRef ds:uri="http://schemas.microsoft.com/office/2006/metadata/properties"/>
    <ds:schemaRef ds:uri="http://purl.org/dc/terms/"/>
    <ds:schemaRef ds:uri="d7396824-049c-4c98-bf01-6625ac2823af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7137FBF-15F3-44F3-91E1-4E988D8734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DF81CF-B38D-458F-9D66-27FE3D0FB3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396824-049c-4c98-bf01-6625ac2823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64</TotalTime>
  <Words>1601</Words>
  <Application>Microsoft Office PowerPoint</Application>
  <PresentationFormat>Widescreen</PresentationFormat>
  <Paragraphs>221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3" baseType="lpstr">
      <vt:lpstr>.AppleSystemUIFont</vt:lpstr>
      <vt:lpstr>.HelveticaNeueDeskInterface-Regular</vt:lpstr>
      <vt:lpstr>Arial</vt:lpstr>
      <vt:lpstr>ArialMT</vt:lpstr>
      <vt:lpstr>Calibri</vt:lpstr>
      <vt:lpstr>Georgia</vt:lpstr>
      <vt:lpstr>Helvetica</vt:lpstr>
      <vt:lpstr>Segoe UI</vt:lpstr>
      <vt:lpstr>Trebuchet MS</vt:lpstr>
      <vt:lpstr>Wingdings</vt:lpstr>
      <vt:lpstr>1_BCG Grid 16:9</vt:lpstr>
      <vt:lpstr>White</vt:lpstr>
      <vt:lpstr>BCG Grid 16:9</vt:lpstr>
      <vt:lpstr>Contrast</vt:lpstr>
      <vt:lpstr>6_White</vt:lpstr>
      <vt:lpstr>2_BCG Grid 16:9</vt:lpstr>
      <vt:lpstr>3_BCG Grid 16:9</vt:lpstr>
      <vt:lpstr>think-cell Slide</vt:lpstr>
      <vt:lpstr>WHO Regional Office for Europe work in preparing for COVID-19 vaccination and deployment </vt:lpstr>
      <vt:lpstr>Presentation outline</vt:lpstr>
      <vt:lpstr>The ACT-Accelerator structures COVID-19 global response efforts in a collaborative framework across three partnerships</vt:lpstr>
      <vt:lpstr>The COVID-19 Vaccine Global Access (COVAX) Facility enables global collaboration and equitable access to vaccines</vt:lpstr>
      <vt:lpstr>Access &amp; allocation as it applies to the COVAX facility*</vt:lpstr>
      <vt:lpstr>Vaccine availability projected to be available in Q1 2021, but preparation must start now </vt:lpstr>
      <vt:lpstr>Fully self-financing countries which have signed commitment agreements with COVAX facility (n=35)</vt:lpstr>
      <vt:lpstr>Financially supported countries (n=5) through official development assistance*</vt:lpstr>
      <vt:lpstr>WHO Europe Regional Working Group on COVID-19 vaccination</vt:lpstr>
      <vt:lpstr>Regional guidelines on routine vaccination during COVID-19 pandemic</vt:lpstr>
      <vt:lpstr>Strategic considerations for preparedness for COVID-19 vaccination and deployment in the WHO European Region        </vt:lpstr>
      <vt:lpstr>Webinars on Preparedness for COVID-19  Vaccination for NITAGs</vt:lpstr>
      <vt:lpstr>Meeting of European Technical Advisory Group of Experts</vt:lpstr>
      <vt:lpstr>Operational guidelines on development and implementation of a national deployment and vaccination plan for COVID-19 vaccines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al working groups on COVID-19  vaccination &amp; deployment</dc:title>
  <dc:creator>BENES, Oleg</dc:creator>
  <cp:lastModifiedBy>MOSINA, Liudmila</cp:lastModifiedBy>
  <cp:revision>167</cp:revision>
  <dcterms:created xsi:type="dcterms:W3CDTF">2020-07-30T09:10:07Z</dcterms:created>
  <dcterms:modified xsi:type="dcterms:W3CDTF">2020-10-08T23:1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1E82C0C8F8F44E96EA0FC5D5223B03</vt:lpwstr>
  </property>
</Properties>
</file>